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4"/>
  </p:notesMasterIdLst>
  <p:sldIdLst>
    <p:sldId id="259" r:id="rId2"/>
    <p:sldId id="627" r:id="rId3"/>
    <p:sldId id="620" r:id="rId4"/>
    <p:sldId id="621" r:id="rId5"/>
    <p:sldId id="286" r:id="rId6"/>
    <p:sldId id="285" r:id="rId7"/>
    <p:sldId id="287" r:id="rId8"/>
    <p:sldId id="628" r:id="rId9"/>
    <p:sldId id="622" r:id="rId10"/>
    <p:sldId id="629" r:id="rId11"/>
    <p:sldId id="630" r:id="rId12"/>
    <p:sldId id="631" r:id="rId13"/>
  </p:sldIdLst>
  <p:sldSz cx="12192000" cy="6858000"/>
  <p:notesSz cx="7004050" cy="9296400"/>
  <p:defaultTextStyle>
    <a:defPPr>
      <a:defRPr lang="es-ES_trad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6608"/>
    <a:srgbClr val="FCC4C8"/>
    <a:srgbClr val="FF6161"/>
    <a:srgbClr val="FF1B1B"/>
    <a:srgbClr val="A10F3C"/>
    <a:srgbClr val="010407"/>
    <a:srgbClr val="003D77"/>
    <a:srgbClr val="DE0000"/>
    <a:srgbClr val="0D4677"/>
    <a:srgbClr val="EBA3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4" autoAdjust="0"/>
    <p:restoredTop sz="94687"/>
  </p:normalViewPr>
  <p:slideViewPr>
    <p:cSldViewPr snapToGrid="0" snapToObjects="1">
      <p:cViewPr varScale="1">
        <p:scale>
          <a:sx n="108" d="100"/>
          <a:sy n="108" d="100"/>
        </p:scale>
        <p:origin x="7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BCC6B8-293F-4673-9F2F-F2F7925ECA98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76781B04-1C2C-4DEC-9E6E-B97E79831B76}">
      <dgm:prSet phldrT="[Texto]" custT="1"/>
      <dgm:spPr>
        <a:xfrm>
          <a:off x="52" y="2361"/>
          <a:ext cx="4989642" cy="1324800"/>
        </a:xfrm>
        <a:prstGeom prst="rect">
          <a:avLst/>
        </a:prstGeom>
        <a:solidFill>
          <a:srgbClr val="ED7D31"/>
        </a:solidFill>
        <a:ln w="12700" cap="flat" cmpd="sng" algn="ctr">
          <a:solidFill>
            <a:srgbClr val="ED7D3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CO" sz="2400" b="1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ESTRUCTURACIÓN</a:t>
          </a:r>
        </a:p>
      </dgm:t>
    </dgm:pt>
    <dgm:pt modelId="{C7A93AB6-4E4E-4F00-BD62-9C80242E5F01}" type="parTrans" cxnId="{188DBD7A-86AC-40A0-88CC-3C6DAFA8C2DB}">
      <dgm:prSet/>
      <dgm:spPr/>
      <dgm:t>
        <a:bodyPr/>
        <a:lstStyle/>
        <a:p>
          <a:endParaRPr lang="es-CO">
            <a:latin typeface="Century Gothic" panose="020B0502020202020204" pitchFamily="34" charset="0"/>
          </a:endParaRPr>
        </a:p>
      </dgm:t>
    </dgm:pt>
    <dgm:pt modelId="{072689AD-3A86-4CC6-A1BD-8F454FD126F5}" type="sibTrans" cxnId="{188DBD7A-86AC-40A0-88CC-3C6DAFA8C2DB}">
      <dgm:prSet/>
      <dgm:spPr/>
      <dgm:t>
        <a:bodyPr/>
        <a:lstStyle/>
        <a:p>
          <a:endParaRPr lang="es-CO">
            <a:latin typeface="Century Gothic" panose="020B0502020202020204" pitchFamily="34" charset="0"/>
          </a:endParaRPr>
        </a:p>
      </dgm:t>
    </dgm:pt>
    <dgm:pt modelId="{2264B315-0DB8-4A35-BB82-F987B8F7782A}">
      <dgm:prSet phldrT="[Texto]" custT="1"/>
      <dgm:spPr>
        <a:xfrm>
          <a:off x="52" y="1327161"/>
          <a:ext cx="4989642" cy="3156750"/>
        </a:xfrm>
        <a:prstGeom prst="rect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algn="just">
            <a:buChar char="•"/>
          </a:pPr>
          <a:r>
            <a:rPr lang="es-CO" sz="14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entury Gothic" panose="020B0502020202020204" pitchFamily="34" charset="0"/>
              <a:ea typeface="+mn-ea"/>
              <a:cs typeface="+mn-cs"/>
            </a:rPr>
            <a:t>Se generan espacios de participación durante la elaboración de los estudios sociales con Autoridades locales, organizaciones locales y actores representativos de las áreas de los proyectos.</a:t>
          </a:r>
        </a:p>
      </dgm:t>
    </dgm:pt>
    <dgm:pt modelId="{D26AD3D6-968F-4B9E-A640-9960237DEC3E}" type="parTrans" cxnId="{EA0321F5-7DB1-40CA-A5D2-E3ED170CA34A}">
      <dgm:prSet/>
      <dgm:spPr/>
      <dgm:t>
        <a:bodyPr/>
        <a:lstStyle/>
        <a:p>
          <a:endParaRPr lang="es-CO">
            <a:latin typeface="Century Gothic" panose="020B0502020202020204" pitchFamily="34" charset="0"/>
          </a:endParaRPr>
        </a:p>
      </dgm:t>
    </dgm:pt>
    <dgm:pt modelId="{F0AA5292-312E-4957-A0D0-4A8E0FF1B2B2}" type="sibTrans" cxnId="{EA0321F5-7DB1-40CA-A5D2-E3ED170CA34A}">
      <dgm:prSet/>
      <dgm:spPr/>
      <dgm:t>
        <a:bodyPr/>
        <a:lstStyle/>
        <a:p>
          <a:endParaRPr lang="es-CO">
            <a:latin typeface="Century Gothic" panose="020B0502020202020204" pitchFamily="34" charset="0"/>
          </a:endParaRPr>
        </a:p>
      </dgm:t>
    </dgm:pt>
    <dgm:pt modelId="{64EF719E-34A2-40C6-93D2-B690EA0E3214}">
      <dgm:prSet phldrT="[Texto]" custT="1"/>
      <dgm:spPr>
        <a:xfrm>
          <a:off x="5688244" y="2361"/>
          <a:ext cx="4989642" cy="1324800"/>
        </a:xfrm>
        <a:prstGeom prst="rect">
          <a:avLst/>
        </a:prstGeom>
        <a:solidFill>
          <a:srgbClr val="ED7D31"/>
        </a:solidFill>
        <a:ln w="12700" cap="flat" cmpd="sng" algn="ctr">
          <a:solidFill>
            <a:srgbClr val="ED7D3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s-CO" sz="1800" b="1" kern="1200" dirty="0">
              <a:solidFill>
                <a:prstClr val="white"/>
              </a:solidFill>
              <a:latin typeface="Century Gothic" panose="020B0502020202020204" pitchFamily="34" charset="0"/>
              <a:ea typeface="+mn-ea"/>
              <a:cs typeface="+mn-cs"/>
            </a:rPr>
            <a:t>EJECUCIÓN </a:t>
          </a:r>
        </a:p>
      </dgm:t>
    </dgm:pt>
    <dgm:pt modelId="{3055D0AF-E87E-4522-806D-C1B356AC4F45}" type="parTrans" cxnId="{DBC45135-FA1B-411A-9E8B-09D1E4269768}">
      <dgm:prSet/>
      <dgm:spPr/>
      <dgm:t>
        <a:bodyPr/>
        <a:lstStyle/>
        <a:p>
          <a:endParaRPr lang="es-CO">
            <a:latin typeface="Century Gothic" panose="020B0502020202020204" pitchFamily="34" charset="0"/>
          </a:endParaRPr>
        </a:p>
      </dgm:t>
    </dgm:pt>
    <dgm:pt modelId="{5DCA59F8-DF0C-4AE9-B39C-0F4412D6869B}" type="sibTrans" cxnId="{DBC45135-FA1B-411A-9E8B-09D1E4269768}">
      <dgm:prSet/>
      <dgm:spPr/>
      <dgm:t>
        <a:bodyPr/>
        <a:lstStyle/>
        <a:p>
          <a:endParaRPr lang="es-CO">
            <a:latin typeface="Century Gothic" panose="020B0502020202020204" pitchFamily="34" charset="0"/>
          </a:endParaRPr>
        </a:p>
      </dgm:t>
    </dgm:pt>
    <dgm:pt modelId="{97B0BD54-FA35-4882-96A8-16822217C436}">
      <dgm:prSet phldrT="[Texto]" custT="1"/>
      <dgm:spPr>
        <a:xfrm>
          <a:off x="5688244" y="1327161"/>
          <a:ext cx="4989642" cy="3156750"/>
        </a:xfrm>
        <a:prstGeom prst="rect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s-CO" sz="1400" u="none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 panose="020B0502020202020204" pitchFamily="34" charset="0"/>
              <a:ea typeface="+mn-ea"/>
              <a:cs typeface="+mn-cs"/>
            </a:rPr>
            <a:t>En el marco de los programas del Plan de Gestión social contractual:</a:t>
          </a:r>
          <a:endParaRPr lang="es-CO" sz="1400" u="sng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entury Gothic" panose="020B0502020202020204" pitchFamily="34" charset="0"/>
            <a:ea typeface="+mn-ea"/>
            <a:cs typeface="+mn-cs"/>
          </a:endParaRPr>
        </a:p>
      </dgm:t>
    </dgm:pt>
    <dgm:pt modelId="{8EBD5AAC-ABC7-4110-8F5B-FC304C9A3A4C}" type="parTrans" cxnId="{150611C4-9442-4BB4-BF42-4B55AEB06C13}">
      <dgm:prSet/>
      <dgm:spPr/>
      <dgm:t>
        <a:bodyPr/>
        <a:lstStyle/>
        <a:p>
          <a:endParaRPr lang="es-CO">
            <a:latin typeface="Century Gothic" panose="020B0502020202020204" pitchFamily="34" charset="0"/>
          </a:endParaRPr>
        </a:p>
      </dgm:t>
    </dgm:pt>
    <dgm:pt modelId="{C46FC0ED-401E-4AA8-B72E-7C04EDCA4A88}" type="sibTrans" cxnId="{150611C4-9442-4BB4-BF42-4B55AEB06C13}">
      <dgm:prSet/>
      <dgm:spPr/>
      <dgm:t>
        <a:bodyPr/>
        <a:lstStyle/>
        <a:p>
          <a:endParaRPr lang="es-CO">
            <a:latin typeface="Century Gothic" panose="020B0502020202020204" pitchFamily="34" charset="0"/>
          </a:endParaRPr>
        </a:p>
      </dgm:t>
    </dgm:pt>
    <dgm:pt modelId="{F3E17304-3F86-433E-93B2-593916898DB5}">
      <dgm:prSet phldrT="[Texto]" custT="1"/>
      <dgm:spPr>
        <a:xfrm>
          <a:off x="52" y="1327161"/>
          <a:ext cx="4989642" cy="3156750"/>
        </a:xfrm>
        <a:prstGeom prst="rect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algn="just">
            <a:buChar char="•"/>
          </a:pPr>
          <a:r>
            <a:rPr lang="es-CO" sz="14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entury Gothic" panose="020B0502020202020204" pitchFamily="34" charset="0"/>
              <a:ea typeface="+mn-ea"/>
              <a:cs typeface="+mn-cs"/>
            </a:rPr>
            <a:t>Se desarrolla una audiencia pública en el marco de la Ley 1508 de 2012.</a:t>
          </a:r>
        </a:p>
      </dgm:t>
    </dgm:pt>
    <dgm:pt modelId="{5B9EADFB-42BC-4AC3-A2A9-0F96131AB9F2}" type="parTrans" cxnId="{6DB6FE3A-ACF0-459F-A103-17FA06DE3156}">
      <dgm:prSet/>
      <dgm:spPr/>
      <dgm:t>
        <a:bodyPr/>
        <a:lstStyle/>
        <a:p>
          <a:endParaRPr lang="es-CO"/>
        </a:p>
      </dgm:t>
    </dgm:pt>
    <dgm:pt modelId="{9AD685FB-5A7F-4224-9896-8A46010A6F1A}" type="sibTrans" cxnId="{6DB6FE3A-ACF0-459F-A103-17FA06DE3156}">
      <dgm:prSet/>
      <dgm:spPr/>
      <dgm:t>
        <a:bodyPr/>
        <a:lstStyle/>
        <a:p>
          <a:endParaRPr lang="es-CO"/>
        </a:p>
      </dgm:t>
    </dgm:pt>
    <dgm:pt modelId="{62FEB60D-3BD2-4A72-9C16-C47CDE05E7A0}">
      <dgm:prSet phldrT="[Texto]" custT="1"/>
      <dgm:spPr>
        <a:xfrm>
          <a:off x="52" y="1327161"/>
          <a:ext cx="4989642" cy="3156750"/>
        </a:xfrm>
        <a:prstGeom prst="rect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 algn="just">
            <a:buChar char="•"/>
          </a:pPr>
          <a:r>
            <a:rPr lang="es-CO" sz="14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entury Gothic" panose="020B0502020202020204" pitchFamily="34" charset="0"/>
              <a:ea typeface="+mn-ea"/>
              <a:cs typeface="+mn-cs"/>
            </a:rPr>
            <a:t>Se desarrolla el proceso de consulta previa según lo estipulado en la Ley 1682 de 2013- Art. 39.</a:t>
          </a:r>
        </a:p>
      </dgm:t>
    </dgm:pt>
    <dgm:pt modelId="{F807EB46-CCE0-4B68-956F-4D70D740BA8D}" type="parTrans" cxnId="{FAAD3500-6949-4C21-81E0-2F4FBBB59896}">
      <dgm:prSet/>
      <dgm:spPr/>
      <dgm:t>
        <a:bodyPr/>
        <a:lstStyle/>
        <a:p>
          <a:endParaRPr lang="es-CO"/>
        </a:p>
      </dgm:t>
    </dgm:pt>
    <dgm:pt modelId="{4BB7B03C-DA85-40CF-9D40-32B875CEAF98}" type="sibTrans" cxnId="{FAAD3500-6949-4C21-81E0-2F4FBBB59896}">
      <dgm:prSet/>
      <dgm:spPr/>
      <dgm:t>
        <a:bodyPr/>
        <a:lstStyle/>
        <a:p>
          <a:endParaRPr lang="es-CO"/>
        </a:p>
      </dgm:t>
    </dgm:pt>
    <dgm:pt modelId="{CC2D3EDB-EFFA-4176-ABF1-D7F77ADEFCDE}">
      <dgm:prSet phldrT="[Texto]" custT="1"/>
      <dgm:spPr>
        <a:xfrm>
          <a:off x="5688244" y="1327161"/>
          <a:ext cx="4989642" cy="3156750"/>
        </a:xfrm>
        <a:prstGeom prst="rect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r>
            <a:rPr lang="es-CO" sz="1400" u="none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 panose="020B0502020202020204" pitchFamily="34" charset="0"/>
              <a:ea typeface="+mn-ea"/>
              <a:cs typeface="+mn-cs"/>
            </a:rPr>
            <a:t>Información y participación comunitaria, atención al usuario, capacitación a las comunidades, </a:t>
          </a:r>
        </a:p>
      </dgm:t>
    </dgm:pt>
    <dgm:pt modelId="{5475AF0B-BF77-43A2-97AD-89928049C6FF}" type="parTrans" cxnId="{1A59B45C-3CAB-4612-8EC3-0195ABFD5DB2}">
      <dgm:prSet/>
      <dgm:spPr/>
      <dgm:t>
        <a:bodyPr/>
        <a:lstStyle/>
        <a:p>
          <a:endParaRPr lang="es-CO"/>
        </a:p>
      </dgm:t>
    </dgm:pt>
    <dgm:pt modelId="{1589743F-3718-4F41-86BD-F0DDE47864BB}" type="sibTrans" cxnId="{1A59B45C-3CAB-4612-8EC3-0195ABFD5DB2}">
      <dgm:prSet/>
      <dgm:spPr/>
      <dgm:t>
        <a:bodyPr/>
        <a:lstStyle/>
        <a:p>
          <a:endParaRPr lang="es-CO"/>
        </a:p>
      </dgm:t>
    </dgm:pt>
    <dgm:pt modelId="{543922B6-1C3B-44B3-8900-3EF9436BA780}">
      <dgm:prSet phldrT="[Texto]" custT="1"/>
      <dgm:spPr>
        <a:xfrm>
          <a:off x="5688244" y="1327161"/>
          <a:ext cx="4989642" cy="3156750"/>
        </a:xfrm>
        <a:prstGeom prst="rect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Char char="•"/>
          </a:pPr>
          <a:endParaRPr lang="es-CO" sz="1400" u="sng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entury Gothic" panose="020B0502020202020204" pitchFamily="34" charset="0"/>
            <a:ea typeface="+mn-ea"/>
            <a:cs typeface="+mn-cs"/>
          </a:endParaRPr>
        </a:p>
      </dgm:t>
    </dgm:pt>
    <dgm:pt modelId="{30FE4E9C-B0EC-4784-ABAC-0F0FECC6FE37}" type="parTrans" cxnId="{F93E8E6A-2264-4D4B-9A6E-E949B7F5FB9D}">
      <dgm:prSet/>
      <dgm:spPr/>
      <dgm:t>
        <a:bodyPr/>
        <a:lstStyle/>
        <a:p>
          <a:endParaRPr lang="es-CO"/>
        </a:p>
      </dgm:t>
    </dgm:pt>
    <dgm:pt modelId="{B4161708-BBA6-4186-98C7-B0D5945A90FA}" type="sibTrans" cxnId="{F93E8E6A-2264-4D4B-9A6E-E949B7F5FB9D}">
      <dgm:prSet/>
      <dgm:spPr/>
      <dgm:t>
        <a:bodyPr/>
        <a:lstStyle/>
        <a:p>
          <a:endParaRPr lang="es-CO"/>
        </a:p>
      </dgm:t>
    </dgm:pt>
    <dgm:pt modelId="{9F1CF829-B471-4105-B855-C1C9C519F92E}">
      <dgm:prSet phldrT="[Texto]" custT="1"/>
      <dgm:spPr>
        <a:xfrm>
          <a:off x="5688244" y="1327161"/>
          <a:ext cx="4989642" cy="3156750"/>
        </a:xfr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s-CO" sz="1400" u="none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entury Gothic" panose="020B0502020202020204" pitchFamily="34" charset="0"/>
            <a:ea typeface="+mn-ea"/>
            <a:cs typeface="+mn-cs"/>
          </a:endParaRPr>
        </a:p>
      </dgm:t>
    </dgm:pt>
    <dgm:pt modelId="{CB2CB75D-E153-45F1-A1AB-378BC17CC875}" type="parTrans" cxnId="{288E7AE6-9660-4129-A088-ABB27429F6C3}">
      <dgm:prSet/>
      <dgm:spPr/>
      <dgm:t>
        <a:bodyPr/>
        <a:lstStyle/>
        <a:p>
          <a:endParaRPr lang="es-CO"/>
        </a:p>
      </dgm:t>
    </dgm:pt>
    <dgm:pt modelId="{53AE3088-4D41-44F7-A496-E6C67904ACDB}" type="sibTrans" cxnId="{288E7AE6-9660-4129-A088-ABB27429F6C3}">
      <dgm:prSet/>
      <dgm:spPr/>
      <dgm:t>
        <a:bodyPr/>
        <a:lstStyle/>
        <a:p>
          <a:endParaRPr lang="es-CO"/>
        </a:p>
      </dgm:t>
    </dgm:pt>
    <dgm:pt modelId="{32158130-89CB-4B67-A9CB-B7FD5868483A}" type="pres">
      <dgm:prSet presAssocID="{DFBCC6B8-293F-4673-9F2F-F2F7925ECA98}" presName="Name0" presStyleCnt="0">
        <dgm:presLayoutVars>
          <dgm:dir/>
          <dgm:animLvl val="lvl"/>
          <dgm:resizeHandles val="exact"/>
        </dgm:presLayoutVars>
      </dgm:prSet>
      <dgm:spPr/>
    </dgm:pt>
    <dgm:pt modelId="{3614387D-91F7-4105-829A-C66AE6243D26}" type="pres">
      <dgm:prSet presAssocID="{76781B04-1C2C-4DEC-9E6E-B97E79831B76}" presName="composite" presStyleCnt="0"/>
      <dgm:spPr/>
    </dgm:pt>
    <dgm:pt modelId="{7F1252B2-B579-459A-9F5E-376E33C82CC5}" type="pres">
      <dgm:prSet presAssocID="{76781B04-1C2C-4DEC-9E6E-B97E79831B76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B752D0BA-88AB-432F-B2E2-B71B18BE0216}" type="pres">
      <dgm:prSet presAssocID="{76781B04-1C2C-4DEC-9E6E-B97E79831B76}" presName="desTx" presStyleLbl="alignAccFollowNode1" presStyleIdx="0" presStyleCnt="2">
        <dgm:presLayoutVars>
          <dgm:bulletEnabled val="1"/>
        </dgm:presLayoutVars>
      </dgm:prSet>
      <dgm:spPr/>
    </dgm:pt>
    <dgm:pt modelId="{26B69DBB-B7FE-4EB3-84AA-C5DBC7D6F605}" type="pres">
      <dgm:prSet presAssocID="{072689AD-3A86-4CC6-A1BD-8F454FD126F5}" presName="space" presStyleCnt="0"/>
      <dgm:spPr/>
    </dgm:pt>
    <dgm:pt modelId="{E89A32BC-6328-4416-9248-129530B61FFB}" type="pres">
      <dgm:prSet presAssocID="{64EF719E-34A2-40C6-93D2-B690EA0E3214}" presName="composite" presStyleCnt="0"/>
      <dgm:spPr/>
    </dgm:pt>
    <dgm:pt modelId="{F8E9879E-3949-4FC1-92E7-F19B888C43C8}" type="pres">
      <dgm:prSet presAssocID="{64EF719E-34A2-40C6-93D2-B690EA0E3214}" presName="parTx" presStyleLbl="alignNode1" presStyleIdx="1" presStyleCnt="2" custLinFactNeighborX="7716" custLinFactNeighborY="-1110">
        <dgm:presLayoutVars>
          <dgm:chMax val="0"/>
          <dgm:chPref val="0"/>
          <dgm:bulletEnabled val="1"/>
        </dgm:presLayoutVars>
      </dgm:prSet>
      <dgm:spPr/>
    </dgm:pt>
    <dgm:pt modelId="{E896ECED-1076-45AB-9099-043E183941DC}" type="pres">
      <dgm:prSet presAssocID="{64EF719E-34A2-40C6-93D2-B690EA0E3214}" presName="desTx" presStyleLbl="alignAccFollowNode1" presStyleIdx="1" presStyleCnt="2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FAAD3500-6949-4C21-81E0-2F4FBBB59896}" srcId="{76781B04-1C2C-4DEC-9E6E-B97E79831B76}" destId="{62FEB60D-3BD2-4A72-9C16-C47CDE05E7A0}" srcOrd="2" destOrd="0" parTransId="{F807EB46-CCE0-4B68-956F-4D70D740BA8D}" sibTransId="{4BB7B03C-DA85-40CF-9D40-32B875CEAF98}"/>
    <dgm:cxn modelId="{01932815-B533-4EF8-B529-C469CCF8AB57}" type="presOf" srcId="{2264B315-0DB8-4A35-BB82-F987B8F7782A}" destId="{B752D0BA-88AB-432F-B2E2-B71B18BE0216}" srcOrd="0" destOrd="0" presId="urn:microsoft.com/office/officeart/2005/8/layout/hList1"/>
    <dgm:cxn modelId="{719C5B2D-505B-4539-98B2-94D6305775A7}" type="presOf" srcId="{CC2D3EDB-EFFA-4176-ABF1-D7F77ADEFCDE}" destId="{E896ECED-1076-45AB-9099-043E183941DC}" srcOrd="0" destOrd="2" presId="urn:microsoft.com/office/officeart/2005/8/layout/hList1"/>
    <dgm:cxn modelId="{13644434-67A4-4C84-8A2E-C152064F7292}" type="presOf" srcId="{DFBCC6B8-293F-4673-9F2F-F2F7925ECA98}" destId="{32158130-89CB-4B67-A9CB-B7FD5868483A}" srcOrd="0" destOrd="0" presId="urn:microsoft.com/office/officeart/2005/8/layout/hList1"/>
    <dgm:cxn modelId="{DBC45135-FA1B-411A-9E8B-09D1E4269768}" srcId="{DFBCC6B8-293F-4673-9F2F-F2F7925ECA98}" destId="{64EF719E-34A2-40C6-93D2-B690EA0E3214}" srcOrd="1" destOrd="0" parTransId="{3055D0AF-E87E-4522-806D-C1B356AC4F45}" sibTransId="{5DCA59F8-DF0C-4AE9-B39C-0F4412D6869B}"/>
    <dgm:cxn modelId="{6DB6FE3A-ACF0-459F-A103-17FA06DE3156}" srcId="{76781B04-1C2C-4DEC-9E6E-B97E79831B76}" destId="{F3E17304-3F86-433E-93B2-593916898DB5}" srcOrd="1" destOrd="0" parTransId="{5B9EADFB-42BC-4AC3-A2A9-0F96131AB9F2}" sibTransId="{9AD685FB-5A7F-4224-9896-8A46010A6F1A}"/>
    <dgm:cxn modelId="{1A59B45C-3CAB-4612-8EC3-0195ABFD5DB2}" srcId="{64EF719E-34A2-40C6-93D2-B690EA0E3214}" destId="{CC2D3EDB-EFFA-4176-ABF1-D7F77ADEFCDE}" srcOrd="2" destOrd="0" parTransId="{5475AF0B-BF77-43A2-97AD-89928049C6FF}" sibTransId="{1589743F-3718-4F41-86BD-F0DDE47864BB}"/>
    <dgm:cxn modelId="{5F97E462-92D5-4A62-8FB4-741FFF0708BE}" type="presOf" srcId="{97B0BD54-FA35-4882-96A8-16822217C436}" destId="{E896ECED-1076-45AB-9099-043E183941DC}" srcOrd="0" destOrd="0" presId="urn:microsoft.com/office/officeart/2005/8/layout/hList1"/>
    <dgm:cxn modelId="{F93E8E6A-2264-4D4B-9A6E-E949B7F5FB9D}" srcId="{64EF719E-34A2-40C6-93D2-B690EA0E3214}" destId="{543922B6-1C3B-44B3-8900-3EF9436BA780}" srcOrd="1" destOrd="0" parTransId="{30FE4E9C-B0EC-4784-ABAC-0F0FECC6FE37}" sibTransId="{B4161708-BBA6-4186-98C7-B0D5945A90FA}"/>
    <dgm:cxn modelId="{82CEA271-FDC4-4593-A2AD-DF895A2B51C2}" type="presOf" srcId="{543922B6-1C3B-44B3-8900-3EF9436BA780}" destId="{E896ECED-1076-45AB-9099-043E183941DC}" srcOrd="0" destOrd="1" presId="urn:microsoft.com/office/officeart/2005/8/layout/hList1"/>
    <dgm:cxn modelId="{188DBD7A-86AC-40A0-88CC-3C6DAFA8C2DB}" srcId="{DFBCC6B8-293F-4673-9F2F-F2F7925ECA98}" destId="{76781B04-1C2C-4DEC-9E6E-B97E79831B76}" srcOrd="0" destOrd="0" parTransId="{C7A93AB6-4E4E-4F00-BD62-9C80242E5F01}" sibTransId="{072689AD-3A86-4CC6-A1BD-8F454FD126F5}"/>
    <dgm:cxn modelId="{16180E89-3805-4275-BBD5-F6D837BEF264}" type="presOf" srcId="{64EF719E-34A2-40C6-93D2-B690EA0E3214}" destId="{F8E9879E-3949-4FC1-92E7-F19B888C43C8}" srcOrd="0" destOrd="0" presId="urn:microsoft.com/office/officeart/2005/8/layout/hList1"/>
    <dgm:cxn modelId="{BE9AB295-B8BD-4E17-8DB0-FEF30A6F605B}" type="presOf" srcId="{9F1CF829-B471-4105-B855-C1C9C519F92E}" destId="{E896ECED-1076-45AB-9099-043E183941DC}" srcOrd="0" destOrd="3" presId="urn:microsoft.com/office/officeart/2005/8/layout/hList1"/>
    <dgm:cxn modelId="{855CE0C0-C2DD-4672-B0C0-C3E87BDAE9E5}" type="presOf" srcId="{F3E17304-3F86-433E-93B2-593916898DB5}" destId="{B752D0BA-88AB-432F-B2E2-B71B18BE0216}" srcOrd="0" destOrd="1" presId="urn:microsoft.com/office/officeart/2005/8/layout/hList1"/>
    <dgm:cxn modelId="{150611C4-9442-4BB4-BF42-4B55AEB06C13}" srcId="{64EF719E-34A2-40C6-93D2-B690EA0E3214}" destId="{97B0BD54-FA35-4882-96A8-16822217C436}" srcOrd="0" destOrd="0" parTransId="{8EBD5AAC-ABC7-4110-8F5B-FC304C9A3A4C}" sibTransId="{C46FC0ED-401E-4AA8-B72E-7C04EDCA4A88}"/>
    <dgm:cxn modelId="{B45593C8-1F75-4994-B70A-FBCB1ACD0182}" type="presOf" srcId="{76781B04-1C2C-4DEC-9E6E-B97E79831B76}" destId="{7F1252B2-B579-459A-9F5E-376E33C82CC5}" srcOrd="0" destOrd="0" presId="urn:microsoft.com/office/officeart/2005/8/layout/hList1"/>
    <dgm:cxn modelId="{288E7AE6-9660-4129-A088-ABB27429F6C3}" srcId="{64EF719E-34A2-40C6-93D2-B690EA0E3214}" destId="{9F1CF829-B471-4105-B855-C1C9C519F92E}" srcOrd="3" destOrd="0" parTransId="{CB2CB75D-E153-45F1-A1AB-378BC17CC875}" sibTransId="{53AE3088-4D41-44F7-A496-E6C67904ACDB}"/>
    <dgm:cxn modelId="{C7839BED-6255-47E8-BBAF-25D48EBD4808}" type="presOf" srcId="{62FEB60D-3BD2-4A72-9C16-C47CDE05E7A0}" destId="{B752D0BA-88AB-432F-B2E2-B71B18BE0216}" srcOrd="0" destOrd="2" presId="urn:microsoft.com/office/officeart/2005/8/layout/hList1"/>
    <dgm:cxn modelId="{EA0321F5-7DB1-40CA-A5D2-E3ED170CA34A}" srcId="{76781B04-1C2C-4DEC-9E6E-B97E79831B76}" destId="{2264B315-0DB8-4A35-BB82-F987B8F7782A}" srcOrd="0" destOrd="0" parTransId="{D26AD3D6-968F-4B9E-A640-9960237DEC3E}" sibTransId="{F0AA5292-312E-4957-A0D0-4A8E0FF1B2B2}"/>
    <dgm:cxn modelId="{5B5267FC-807C-48C7-B890-7EF6F3196736}" type="presParOf" srcId="{32158130-89CB-4B67-A9CB-B7FD5868483A}" destId="{3614387D-91F7-4105-829A-C66AE6243D26}" srcOrd="0" destOrd="0" presId="urn:microsoft.com/office/officeart/2005/8/layout/hList1"/>
    <dgm:cxn modelId="{C21B9AC8-08DE-4C81-BF5D-E14B46E9A174}" type="presParOf" srcId="{3614387D-91F7-4105-829A-C66AE6243D26}" destId="{7F1252B2-B579-459A-9F5E-376E33C82CC5}" srcOrd="0" destOrd="0" presId="urn:microsoft.com/office/officeart/2005/8/layout/hList1"/>
    <dgm:cxn modelId="{7842669D-BFEF-4150-AA7B-B7452E591115}" type="presParOf" srcId="{3614387D-91F7-4105-829A-C66AE6243D26}" destId="{B752D0BA-88AB-432F-B2E2-B71B18BE0216}" srcOrd="1" destOrd="0" presId="urn:microsoft.com/office/officeart/2005/8/layout/hList1"/>
    <dgm:cxn modelId="{49240CE3-EF63-4A84-BD3E-F51559048138}" type="presParOf" srcId="{32158130-89CB-4B67-A9CB-B7FD5868483A}" destId="{26B69DBB-B7FE-4EB3-84AA-C5DBC7D6F605}" srcOrd="1" destOrd="0" presId="urn:microsoft.com/office/officeart/2005/8/layout/hList1"/>
    <dgm:cxn modelId="{97ADCB1A-0AA0-4F45-A30C-8E71D6DAECA7}" type="presParOf" srcId="{32158130-89CB-4B67-A9CB-B7FD5868483A}" destId="{E89A32BC-6328-4416-9248-129530B61FFB}" srcOrd="2" destOrd="0" presId="urn:microsoft.com/office/officeart/2005/8/layout/hList1"/>
    <dgm:cxn modelId="{06D46E21-FE55-4322-A8CB-450FC31E5807}" type="presParOf" srcId="{E89A32BC-6328-4416-9248-129530B61FFB}" destId="{F8E9879E-3949-4FC1-92E7-F19B888C43C8}" srcOrd="0" destOrd="0" presId="urn:microsoft.com/office/officeart/2005/8/layout/hList1"/>
    <dgm:cxn modelId="{A4B6E51B-0C85-43DD-8B8C-A20F848D9CE3}" type="presParOf" srcId="{E89A32BC-6328-4416-9248-129530B61FFB}" destId="{E896ECED-1076-45AB-9099-043E183941D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1252B2-B579-459A-9F5E-376E33C82CC5}">
      <dsp:nvSpPr>
        <dsp:cNvPr id="0" name=""/>
        <dsp:cNvSpPr/>
      </dsp:nvSpPr>
      <dsp:spPr>
        <a:xfrm>
          <a:off x="46" y="12463"/>
          <a:ext cx="4463953" cy="1123200"/>
        </a:xfrm>
        <a:prstGeom prst="rect">
          <a:avLst/>
        </a:prstGeom>
        <a:solidFill>
          <a:srgbClr val="ED7D31"/>
        </a:solidFill>
        <a:ln w="12700" cap="flat" cmpd="sng" algn="ctr">
          <a:solidFill>
            <a:srgbClr val="ED7D3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97536" rIns="170688" bIns="97536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2400" b="1" kern="1200" dirty="0">
              <a:solidFill>
                <a:sysClr val="window" lastClr="FFFFFF"/>
              </a:solidFill>
              <a:latin typeface="Century Gothic" panose="020B0502020202020204" pitchFamily="34" charset="0"/>
              <a:ea typeface="+mn-ea"/>
              <a:cs typeface="+mn-cs"/>
            </a:rPr>
            <a:t>ESTRUCTURACIÓN</a:t>
          </a:r>
        </a:p>
      </dsp:txBody>
      <dsp:txXfrm>
        <a:off x="46" y="12463"/>
        <a:ext cx="4463953" cy="1123200"/>
      </dsp:txXfrm>
    </dsp:sp>
    <dsp:sp modelId="{B752D0BA-88AB-432F-B2E2-B71B18BE0216}">
      <dsp:nvSpPr>
        <dsp:cNvPr id="0" name=""/>
        <dsp:cNvSpPr/>
      </dsp:nvSpPr>
      <dsp:spPr>
        <a:xfrm>
          <a:off x="46" y="1135663"/>
          <a:ext cx="4463953" cy="2248155"/>
        </a:xfrm>
        <a:prstGeom prst="rect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entury Gothic" panose="020B0502020202020204" pitchFamily="34" charset="0"/>
              <a:ea typeface="+mn-ea"/>
              <a:cs typeface="+mn-cs"/>
            </a:rPr>
            <a:t>Se generan espacios de participación durante la elaboración de los estudios sociales con Autoridades locales, organizaciones locales y actores representativos de las áreas de los proyectos.</a:t>
          </a: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entury Gothic" panose="020B0502020202020204" pitchFamily="34" charset="0"/>
              <a:ea typeface="+mn-ea"/>
              <a:cs typeface="+mn-cs"/>
            </a:rPr>
            <a:t>Se desarrolla una audiencia pública en el marco de la Ley 1508 de 2012.</a:t>
          </a:r>
        </a:p>
        <a:p>
          <a:pPr marL="114300" lvl="1" indent="-114300" algn="just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400" kern="1200" dirty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entury Gothic" panose="020B0502020202020204" pitchFamily="34" charset="0"/>
              <a:ea typeface="+mn-ea"/>
              <a:cs typeface="+mn-cs"/>
            </a:rPr>
            <a:t>Se desarrolla el proceso de consulta previa según lo estipulado en la Ley 1682 de 2013- Art. 39.</a:t>
          </a:r>
        </a:p>
      </dsp:txBody>
      <dsp:txXfrm>
        <a:off x="46" y="1135663"/>
        <a:ext cx="4463953" cy="2248155"/>
      </dsp:txXfrm>
    </dsp:sp>
    <dsp:sp modelId="{F8E9879E-3949-4FC1-92E7-F19B888C43C8}">
      <dsp:nvSpPr>
        <dsp:cNvPr id="0" name=""/>
        <dsp:cNvSpPr/>
      </dsp:nvSpPr>
      <dsp:spPr>
        <a:xfrm>
          <a:off x="5089000" y="0"/>
          <a:ext cx="4463953" cy="1123200"/>
        </a:xfrm>
        <a:prstGeom prst="rect">
          <a:avLst/>
        </a:prstGeom>
        <a:solidFill>
          <a:srgbClr val="ED7D31"/>
        </a:solidFill>
        <a:ln w="12700" cap="flat" cmpd="sng" algn="ctr">
          <a:solidFill>
            <a:srgbClr val="ED7D3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CO" sz="1800" b="1" kern="1200" dirty="0">
              <a:solidFill>
                <a:prstClr val="white"/>
              </a:solidFill>
              <a:latin typeface="Century Gothic" panose="020B0502020202020204" pitchFamily="34" charset="0"/>
              <a:ea typeface="+mn-ea"/>
              <a:cs typeface="+mn-cs"/>
            </a:rPr>
            <a:t>EJECUCIÓN </a:t>
          </a:r>
        </a:p>
      </dsp:txBody>
      <dsp:txXfrm>
        <a:off x="5089000" y="0"/>
        <a:ext cx="4463953" cy="1123200"/>
      </dsp:txXfrm>
    </dsp:sp>
    <dsp:sp modelId="{E896ECED-1076-45AB-9099-043E183941DC}">
      <dsp:nvSpPr>
        <dsp:cNvPr id="0" name=""/>
        <dsp:cNvSpPr/>
      </dsp:nvSpPr>
      <dsp:spPr>
        <a:xfrm>
          <a:off x="5088953" y="1135663"/>
          <a:ext cx="4463953" cy="2248155"/>
        </a:xfrm>
        <a:prstGeom prst="rect">
          <a:avLst/>
        </a:prstGeom>
        <a:solidFill>
          <a:srgbClr val="4472C4">
            <a:alpha val="90000"/>
            <a:tint val="4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4472C4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400" u="none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 panose="020B0502020202020204" pitchFamily="34" charset="0"/>
              <a:ea typeface="+mn-ea"/>
              <a:cs typeface="+mn-cs"/>
            </a:rPr>
            <a:t>En el marco de los programas del Plan de Gestión social contractual:</a:t>
          </a:r>
          <a:endParaRPr lang="es-CO" sz="1400" u="sng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entury Gothic" panose="020B0502020202020204" pitchFamily="34" charset="0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s-CO" sz="1400" u="sng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entury Gothic" panose="020B0502020202020204" pitchFamily="34" charset="0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s-CO" sz="1400" u="none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 panose="020B0502020202020204" pitchFamily="34" charset="0"/>
              <a:ea typeface="+mn-ea"/>
              <a:cs typeface="+mn-cs"/>
            </a:rPr>
            <a:t>Información y participación comunitaria, atención al usuario, capacitación a las comunidades,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None/>
          </a:pPr>
          <a:endParaRPr lang="es-CO" sz="1400" u="none" kern="1200" dirty="0">
            <a:solidFill>
              <a:prstClr val="black">
                <a:hueOff val="0"/>
                <a:satOff val="0"/>
                <a:lumOff val="0"/>
                <a:alphaOff val="0"/>
              </a:prstClr>
            </a:solidFill>
            <a:latin typeface="Century Gothic" panose="020B0502020202020204" pitchFamily="34" charset="0"/>
            <a:ea typeface="+mn-ea"/>
            <a:cs typeface="+mn-cs"/>
          </a:endParaRPr>
        </a:p>
      </dsp:txBody>
      <dsp:txXfrm>
        <a:off x="5088953" y="1135663"/>
        <a:ext cx="4463953" cy="22481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67163" y="0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BFE876-5919-4640-8286-EE588F78489C}" type="datetimeFigureOut">
              <a:rPr lang="es-CO" smtClean="0"/>
              <a:t>27/08/2019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0088" y="4473575"/>
            <a:ext cx="5603875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67163" y="8829675"/>
            <a:ext cx="3035300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699206-ED76-480F-BE1F-E5490435D080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8250737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g495ef59f35_0_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0" name="Google Shape;120;g495ef59f35_0_4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192622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apositiva de título 1 1 1" preserve="1" userDrawn="1">
  <p:cSld name="Diapositiva de título 1 1 1">
    <p:bg>
      <p:bgPr>
        <a:solidFill>
          <a:srgbClr val="069169"/>
        </a:solidFill>
        <a:effectLst/>
      </p:bgPr>
    </p:bg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5"/>
          <p:cNvSpPr txBox="1"/>
          <p:nvPr/>
        </p:nvSpPr>
        <p:spPr>
          <a:xfrm>
            <a:off x="11115328" y="72861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1" name="Google Shape;31;p5"/>
          <p:cNvSpPr txBox="1"/>
          <p:nvPr userDrawn="1"/>
        </p:nvSpPr>
        <p:spPr>
          <a:xfrm>
            <a:off x="11115328" y="-28739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FFFFFF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 dirty="0">
              <a:solidFill>
                <a:srgbClr val="FFFFFF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sp>
        <p:nvSpPr>
          <p:cNvPr id="32" name="Google Shape;32;p5"/>
          <p:cNvSpPr/>
          <p:nvPr/>
        </p:nvSpPr>
        <p:spPr>
          <a:xfrm>
            <a:off x="4284926" y="0"/>
            <a:ext cx="79136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67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5"/>
          <p:cNvSpPr txBox="1"/>
          <p:nvPr/>
        </p:nvSpPr>
        <p:spPr>
          <a:xfrm>
            <a:off x="1464624" y="6474856"/>
            <a:ext cx="5724000" cy="45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600"/>
              <a:buFont typeface="Arial"/>
              <a:buNone/>
            </a:pPr>
            <a:r>
              <a:rPr lang="es-CO" sz="800" b="0" i="0" u="none" strike="noStrike" cap="none">
                <a:solidFill>
                  <a:schemeClr val="lt1"/>
                </a:solidFill>
                <a:latin typeface="Work Sans"/>
                <a:ea typeface="Work Sans"/>
                <a:cs typeface="Work Sans"/>
                <a:sym typeface="Work Sans"/>
              </a:rPr>
              <a:t>Esta presentación es propiedad intelectual controlada y producida por la Presidencia de la República.</a:t>
            </a:r>
            <a:endParaRPr sz="800" b="0" i="0" u="none" strike="noStrike" cap="none">
              <a:solidFill>
                <a:schemeClr val="lt1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1857" y="462140"/>
            <a:ext cx="3489271" cy="995539"/>
          </a:xfrm>
          <a:prstGeom prst="rect">
            <a:avLst/>
          </a:prstGeom>
        </p:spPr>
      </p:pic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9EBB03E-157E-1743-86F1-8874FFB41BE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14672" y="1919818"/>
            <a:ext cx="6866128" cy="1799167"/>
          </a:xfrm>
        </p:spPr>
        <p:txBody>
          <a:bodyPr/>
          <a:lstStyle>
            <a:lvl1pPr marL="126997" indent="0" algn="r">
              <a:buNone/>
              <a:defRPr sz="4000">
                <a:solidFill>
                  <a:srgbClr val="0054BC"/>
                </a:solidFill>
              </a:defRPr>
            </a:lvl1pPr>
          </a:lstStyle>
          <a:p>
            <a:r>
              <a:rPr lang="es-ES" dirty="0"/>
              <a:t>Editar los estilos de texto del patrón</a:t>
            </a:r>
            <a:endParaRPr lang="es-CO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489" y="5029179"/>
            <a:ext cx="5205444" cy="976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2937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cabezado de sección" type="secHead">
  <p:cSld name="Encabezado de sección">
    <p:bg>
      <p:bgPr>
        <a:solidFill>
          <a:srgbClr val="DCEBFB"/>
        </a:solidFill>
        <a:effectLst/>
      </p:bgPr>
    </p:bg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7"/>
          <p:cNvSpPr txBox="1">
            <a:spLocks noGrp="1"/>
          </p:cNvSpPr>
          <p:nvPr>
            <p:ph type="body" idx="1"/>
          </p:nvPr>
        </p:nvSpPr>
        <p:spPr>
          <a:xfrm>
            <a:off x="1996035" y="1327104"/>
            <a:ext cx="2471231" cy="12718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r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SzPts val="1100"/>
              <a:buFont typeface="Work Sans Light"/>
              <a:buNone/>
              <a:defRPr sz="9600" b="1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SzPts val="1100"/>
              <a:buFont typeface="Work Sans Light"/>
              <a:buChar char="•"/>
              <a:defRPr sz="1467"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 dirty="0"/>
          </a:p>
        </p:txBody>
      </p:sp>
      <p:sp>
        <p:nvSpPr>
          <p:cNvPr id="42" name="Google Shape;42;p7"/>
          <p:cNvSpPr txBox="1">
            <a:spLocks noGrp="1"/>
          </p:cNvSpPr>
          <p:nvPr>
            <p:ph type="title" hasCustomPrompt="1"/>
          </p:nvPr>
        </p:nvSpPr>
        <p:spPr>
          <a:xfrm>
            <a:off x="5024967" y="2285819"/>
            <a:ext cx="6336800" cy="8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4000">
                <a:solidFill>
                  <a:srgbClr val="0054BC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None/>
              <a:defRPr>
                <a:solidFill>
                  <a:srgbClr val="FFFFFF"/>
                </a:solidFill>
              </a:defRPr>
            </a:lvl9pPr>
          </a:lstStyle>
          <a:p>
            <a:r>
              <a:rPr lang="es-ES" dirty="0"/>
              <a:t> </a:t>
            </a:r>
            <a:endParaRPr dirty="0"/>
          </a:p>
        </p:txBody>
      </p:sp>
      <p:sp>
        <p:nvSpPr>
          <p:cNvPr id="43" name="Google Shape;43;p7"/>
          <p:cNvSpPr txBox="1">
            <a:spLocks noGrp="1"/>
          </p:cNvSpPr>
          <p:nvPr>
            <p:ph type="body" idx="2"/>
          </p:nvPr>
        </p:nvSpPr>
        <p:spPr>
          <a:xfrm>
            <a:off x="5014833" y="3368796"/>
            <a:ext cx="6336800" cy="17819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609585" lvl="0" indent="-304792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None/>
              <a:defRPr sz="2000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1219170" lvl="1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2pPr>
            <a:lvl3pPr marL="1828754" lvl="2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3pPr>
            <a:lvl4pPr marL="2438339" lvl="3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4pPr>
            <a:lvl5pPr marL="3047924" lvl="4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5pPr>
            <a:lvl6pPr marL="3657509" lvl="5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6pPr>
            <a:lvl7pPr marL="4267093" lvl="6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7pPr>
            <a:lvl8pPr marL="4876678" lvl="7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8pPr>
            <a:lvl9pPr marL="5486263" lvl="8" indent="-3979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Work Sans Light"/>
              <a:buChar char="•"/>
              <a:defRPr sz="1467">
                <a:solidFill>
                  <a:srgbClr val="FFFFFF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9pPr>
          </a:lstStyle>
          <a:p>
            <a:endParaRPr/>
          </a:p>
        </p:txBody>
      </p:sp>
      <p:sp>
        <p:nvSpPr>
          <p:cNvPr id="45" name="Google Shape;45;p7"/>
          <p:cNvSpPr txBox="1"/>
          <p:nvPr/>
        </p:nvSpPr>
        <p:spPr>
          <a:xfrm>
            <a:off x="11110300" y="8317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 dirty="0">
              <a:solidFill>
                <a:srgbClr val="0054BC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491" y="383006"/>
            <a:ext cx="1491203" cy="425461"/>
          </a:xfrm>
          <a:prstGeom prst="rect">
            <a:avLst/>
          </a:prstGeom>
        </p:spPr>
      </p:pic>
      <p:pic>
        <p:nvPicPr>
          <p:cNvPr id="8" name="Imagen 7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8386" y="6031265"/>
            <a:ext cx="2493615" cy="46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546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 blanco" type="blank">
  <p:cSld name="En blanco">
    <p:bg>
      <p:bgPr>
        <a:solidFill>
          <a:srgbClr val="DCEAFB"/>
        </a:solidFill>
        <a:effectLst/>
      </p:bgPr>
    </p:bg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4"/>
          <p:cNvSpPr txBox="1"/>
          <p:nvPr/>
        </p:nvSpPr>
        <p:spPr>
          <a:xfrm>
            <a:off x="11066244" y="0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fld id="{00000000-1234-1234-1234-123412341234}" type="slidenum">
              <a:rPr lang="es-CO" sz="933" b="0" i="0" u="none" strike="noStrike" cap="none">
                <a:solidFill>
                  <a:srgbClr val="0066CD"/>
                </a:solidFill>
                <a:latin typeface="Work Sans"/>
                <a:ea typeface="Work Sans"/>
                <a:cs typeface="Work Sans"/>
                <a:sym typeface="Work Sans"/>
              </a:rPr>
              <a:pPr marL="0" marR="0" lvl="0" indent="0" algn="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t>‹Nº›</a:t>
            </a:fld>
            <a:endParaRPr sz="933" b="0" i="0" u="none" strike="noStrike" cap="none" dirty="0">
              <a:solidFill>
                <a:srgbClr val="0066CD"/>
              </a:solidFill>
              <a:latin typeface="Work Sans"/>
              <a:ea typeface="Work Sans"/>
              <a:cs typeface="Work Sans"/>
              <a:sym typeface="Work Sans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FAB7457-61BC-0144-984D-ACFC03D1DF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71491" y="383006"/>
            <a:ext cx="1491203" cy="425461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06C4BAFA-CF82-7743-AB31-DAA7A61A692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8386" y="6031265"/>
            <a:ext cx="2493615" cy="46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6837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4BC"/>
              </a:buClr>
              <a:buSzPts val="3300"/>
              <a:buFont typeface="Work Sans"/>
              <a:buNone/>
              <a:defRPr sz="33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/>
          <a:lstStyle>
            <a:lvl1pPr marL="457200" marR="0" lvl="0" indent="-3619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2100"/>
              <a:buFont typeface="Arial"/>
              <a:buChar char="•"/>
              <a:defRPr sz="21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rgbClr val="0054BC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9" name="Google Shape;9;p1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/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867" b="0" i="0" u="none" strike="noStrike" cap="none">
                <a:solidFill>
                  <a:schemeClr val="dk1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endParaRPr/>
          </a:p>
        </p:txBody>
      </p:sp>
      <p:sp>
        <p:nvSpPr>
          <p:cNvPr id="10" name="Google Shape;10;p1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E9D"/>
                </a:solidFill>
                <a:latin typeface="Work Sans"/>
                <a:ea typeface="Work Sans"/>
                <a:cs typeface="Work Sans"/>
                <a:sym typeface="Work Sans"/>
              </a:defRPr>
            </a:lvl9pPr>
          </a:lstStyle>
          <a:p>
            <a:fld id="{00000000-1234-1234-1234-123412341234}" type="slidenum">
              <a:rPr lang="es-CO" smtClean="0"/>
              <a:pPr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399145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8">
            <a:extLst>
              <a:ext uri="{FF2B5EF4-FFF2-40B4-BE49-F238E27FC236}">
                <a16:creationId xmlns:a16="http://schemas.microsoft.com/office/drawing/2014/main" id="{B8B9B8AE-42D8-43C0-9725-B61AD7014AAA}"/>
              </a:ext>
            </a:extLst>
          </p:cNvPr>
          <p:cNvSpPr txBox="1">
            <a:spLocks/>
          </p:cNvSpPr>
          <p:nvPr/>
        </p:nvSpPr>
        <p:spPr bwMode="auto">
          <a:xfrm>
            <a:off x="8332805" y="5572307"/>
            <a:ext cx="8646585" cy="1188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91433" tIns="45700" rIns="91433" bIns="45700" numCol="1" anchor="ctr" anchorCtr="0" compatLnSpc="1">
            <a:prstTxWarp prst="textNoShape">
              <a:avLst/>
            </a:prstTxWarp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lvl="0" algn="l" rtl="0" eaLnBrk="0" fontAlgn="base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400"/>
              <a:buFont typeface="Work Sans SemiBold"/>
              <a:buNone/>
              <a:defRPr sz="3000">
                <a:solidFill>
                  <a:srgbClr val="0066CD"/>
                </a:solidFill>
                <a:latin typeface="Work Sans Light"/>
                <a:ea typeface="Work Sans Light"/>
                <a:cs typeface="Work Sans Light"/>
                <a:sym typeface="Work Sans Light"/>
              </a:defRPr>
            </a:lvl1pPr>
            <a:lvl2pPr lvl="1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lvl="2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lvl="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lvl="4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 panose="020B0604020202020204" pitchFamily="34" charset="0"/>
              <a:buNone/>
              <a:defRPr sz="1400">
                <a:solidFill>
                  <a:srgbClr val="FFFFFF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Arial"/>
              <a:buNone/>
              <a:defRPr sz="14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1219170"/>
            <a:endParaRPr lang="en-US" sz="3733" b="1" kern="0" dirty="0">
              <a:solidFill>
                <a:srgbClr val="073763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Subtitle 5">
            <a:extLst>
              <a:ext uri="{FF2B5EF4-FFF2-40B4-BE49-F238E27FC236}">
                <a16:creationId xmlns:a16="http://schemas.microsoft.com/office/drawing/2014/main" id="{869CE330-5608-41A5-99AF-411A6E0C5D84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030240" y="4101684"/>
            <a:ext cx="7918101" cy="462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spcFirstLastPara="1" vert="horz" wrap="square" lIns="91433" tIns="45700" rIns="91433" bIns="45700" numCol="1" anchor="t" anchorCtr="0" compatLnSpc="1">
            <a:prstTxWarp prst="textNoShape">
              <a:avLst/>
            </a:prstTxWarp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lvl="0" indent="-685800" algn="l" rtl="0" eaLnBrk="0" fontAlgn="base" hangingPunct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1pPr>
            <a:lvl2pPr marL="914400" lvl="1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2pPr>
            <a:lvl3pPr marL="1371600" lvl="2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3pPr>
            <a:lvl4pPr marL="1828800" lvl="3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4pPr>
            <a:lvl5pPr marL="2286000" lvl="4" indent="-68580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>
                <a:solidFill>
                  <a:srgbClr val="0054BC"/>
                </a:solidFill>
                <a:latin typeface="Arial"/>
                <a:ea typeface="Arial"/>
                <a:cs typeface="Arial"/>
                <a:sym typeface="Arial" panose="020B0604020202020204" pitchFamily="34" charset="0"/>
              </a:defRPr>
            </a:lvl5pPr>
            <a:lvl6pPr marL="2743200" marR="0" lvl="5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6858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0054BC"/>
              </a:buClr>
              <a:buSzPts val="7200"/>
              <a:buFont typeface="Work Sans"/>
              <a:buChar char="•"/>
              <a:defRPr sz="7200" b="1" i="0" u="none" strike="noStrike" cap="none">
                <a:solidFill>
                  <a:srgbClr val="0054BC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algn="ctr" defTabSz="1219170">
              <a:spcBef>
                <a:spcPts val="1067"/>
              </a:spcBef>
              <a:buNone/>
            </a:pPr>
            <a:r>
              <a:rPr lang="es-ES" sz="1600" kern="0" dirty="0">
                <a:solidFill>
                  <a:srgbClr val="073763"/>
                </a:solidFill>
                <a:latin typeface="Century Gothic" panose="020B0502020202020204" pitchFamily="34" charset="0"/>
              </a:rPr>
              <a:t>Grupo Interno de Trabajo Social</a:t>
            </a:r>
          </a:p>
          <a:p>
            <a:pPr marL="0" indent="0" algn="ctr" defTabSz="1219170">
              <a:spcBef>
                <a:spcPts val="1067"/>
              </a:spcBef>
              <a:buNone/>
            </a:pPr>
            <a:r>
              <a:rPr lang="es-ES" sz="1600" kern="0" dirty="0">
                <a:solidFill>
                  <a:srgbClr val="073763"/>
                </a:solidFill>
                <a:latin typeface="Century Gothic" panose="020B0502020202020204" pitchFamily="34" charset="0"/>
              </a:rPr>
              <a:t>Vicepresidencia de Planeación, Riesgos y Entorno - VPRE</a:t>
            </a:r>
            <a:endParaRPr lang="en-US" sz="1600" kern="0" dirty="0">
              <a:solidFill>
                <a:srgbClr val="073763"/>
              </a:solidFill>
              <a:latin typeface="Century Gothic" panose="020B0502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ECC0644-74EC-413B-8D1A-087605173C6A}"/>
              </a:ext>
            </a:extLst>
          </p:cNvPr>
          <p:cNvSpPr>
            <a:spLocks noChangeArrowheads="1"/>
          </p:cNvSpPr>
          <p:nvPr/>
        </p:nvSpPr>
        <p:spPr bwMode="auto">
          <a:xfrm rot="10800000" flipV="1">
            <a:off x="4273897" y="2389789"/>
            <a:ext cx="7918102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altLang="es-CO" sz="2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entury Gothic" panose="020B0502020202020204" pitchFamily="34" charset="0"/>
              </a:rPr>
              <a:t>RENDICIÓN DE CUENTAS CON ENFOQUE EN ODS, DERECHOS HUMANOS Y EQUIDAD DE GÉNERO</a:t>
            </a:r>
            <a:endParaRPr kumimoji="0" lang="es-CO" altLang="es-CO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entury Gothic" panose="020B0502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O" altLang="es-CO" sz="3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Century Gothic" panose="020B0502020202020204" pitchFamily="34" charset="0"/>
            </a:endParaRP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B72FCD2C-C2F3-4FBB-A6A1-0F7298451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06059" y="3715366"/>
            <a:ext cx="106363" cy="10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endParaRPr lang="es-CO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A460B8DD-2CCD-45F2-BA08-1C6BECFB07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12422" y="4998256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463404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s-CO" altLang="es-CO" sz="11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</a:br>
            <a:endParaRPr kumimoji="0" lang="es-CO" altLang="es-CO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upo 41">
            <a:extLst>
              <a:ext uri="{FF2B5EF4-FFF2-40B4-BE49-F238E27FC236}">
                <a16:creationId xmlns:a16="http://schemas.microsoft.com/office/drawing/2014/main" id="{CD106923-8D1D-43EB-9D98-CFB1D1B293A6}"/>
              </a:ext>
            </a:extLst>
          </p:cNvPr>
          <p:cNvGrpSpPr/>
          <p:nvPr/>
        </p:nvGrpSpPr>
        <p:grpSpPr>
          <a:xfrm>
            <a:off x="4631960" y="2976601"/>
            <a:ext cx="3046355" cy="2588955"/>
            <a:chOff x="334963" y="1838325"/>
            <a:chExt cx="2484437" cy="2833472"/>
          </a:xfrm>
        </p:grpSpPr>
        <p:grpSp>
          <p:nvGrpSpPr>
            <p:cNvPr id="43" name="Grupo 12">
              <a:extLst>
                <a:ext uri="{FF2B5EF4-FFF2-40B4-BE49-F238E27FC236}">
                  <a16:creationId xmlns:a16="http://schemas.microsoft.com/office/drawing/2014/main" id="{042071F0-E2F9-41D6-82A3-F2272FF21AC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45" name="Redondear rectángulo de esquina diagonal 1">
                <a:extLst>
                  <a:ext uri="{FF2B5EF4-FFF2-40B4-BE49-F238E27FC236}">
                    <a16:creationId xmlns:a16="http://schemas.microsoft.com/office/drawing/2014/main" id="{E83820BD-542E-470F-B95B-F3A4740643B4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CC4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46" name="Redondear rectángulo de esquina diagonal 5">
                <a:extLst>
                  <a:ext uri="{FF2B5EF4-FFF2-40B4-BE49-F238E27FC236}">
                    <a16:creationId xmlns:a16="http://schemas.microsoft.com/office/drawing/2014/main" id="{345C5786-DB43-4579-B3CE-8EBF578FC4E5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616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44" name="Redondear rectángulo de esquina diagonal 20">
              <a:extLst>
                <a:ext uri="{FF2B5EF4-FFF2-40B4-BE49-F238E27FC236}">
                  <a16:creationId xmlns:a16="http://schemas.microsoft.com/office/drawing/2014/main" id="{DF4EE51A-2865-4885-9E3D-2B0CDB05588A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1B1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8240658" y="2853398"/>
            <a:ext cx="3046355" cy="2588955"/>
            <a:chOff x="334963" y="1838325"/>
            <a:chExt cx="2484437" cy="2833472"/>
          </a:xfrm>
        </p:grpSpPr>
        <p:sp>
          <p:nvSpPr>
            <p:cNvPr id="8" name="Redondear rectángulo de esquina diagonal 1">
              <a:extLst>
                <a:ext uri="{FF2B5EF4-FFF2-40B4-BE49-F238E27FC236}">
                  <a16:creationId xmlns:a16="http://schemas.microsoft.com/office/drawing/2014/main" id="{627E2843-2EEE-4384-9E61-498212ECA308}"/>
                </a:ext>
              </a:extLst>
            </p:cNvPr>
            <p:cNvSpPr/>
            <p:nvPr/>
          </p:nvSpPr>
          <p:spPr bwMode="auto">
            <a:xfrm>
              <a:off x="334963" y="1843088"/>
              <a:ext cx="2484437" cy="2828709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contribuye en la igualdad de género y el empoderamiento de las mujeres que residen en las comunidades de los proyectos de concesión.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46898" y="3002031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88729" y="3078523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121889" y="3608829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025" y="2506134"/>
            <a:ext cx="862367" cy="781739"/>
          </a:xfrm>
          <a:prstGeom prst="ellipse">
            <a:avLst/>
          </a:prstGeom>
        </p:spPr>
      </p:pic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818268" y="2514286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306FF2DE-1188-4546-BB50-CFC0B5A8C8A8}"/>
              </a:ext>
            </a:extLst>
          </p:cNvPr>
          <p:cNvSpPr/>
          <p:nvPr/>
        </p:nvSpPr>
        <p:spPr>
          <a:xfrm>
            <a:off x="8585794" y="4126173"/>
            <a:ext cx="282930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 </a:t>
            </a:r>
            <a:endParaRPr lang="en-US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121889" y="4281253"/>
            <a:ext cx="28574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 la propiedad, individual y colectivamente.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616161" y="2985203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chemeClr val="bg1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D1E322B1-327A-457D-9E19-F74699530988}"/>
              </a:ext>
            </a:extLst>
          </p:cNvPr>
          <p:cNvSpPr/>
          <p:nvPr/>
        </p:nvSpPr>
        <p:spPr>
          <a:xfrm>
            <a:off x="-13892" y="1174373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9A459EB1-492E-48B6-A4C6-69F8D85DB7B1}"/>
              </a:ext>
            </a:extLst>
          </p:cNvPr>
          <p:cNvSpPr/>
          <p:nvPr/>
        </p:nvSpPr>
        <p:spPr>
          <a:xfrm>
            <a:off x="8335446" y="3835238"/>
            <a:ext cx="296586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685800">
              <a:defRPr/>
            </a:pPr>
            <a:r>
              <a:rPr lang="es-CO" sz="12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Con el desarrollo de los proyectos 4G actualmente se benefician más de </a:t>
            </a:r>
            <a:r>
              <a:rPr lang="es-CO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7.600 mujeres por generación de empleo y el desarrollo de acciones de emprendimiento.</a:t>
            </a:r>
            <a:endParaRPr lang="en-US" sz="1200" b="1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33" name="Picture 16" descr="Resultado de imagen para ods igualdad de genero">
            <a:extLst>
              <a:ext uri="{FF2B5EF4-FFF2-40B4-BE49-F238E27FC236}">
                <a16:creationId xmlns:a16="http://schemas.microsoft.com/office/drawing/2014/main" id="{126D5BF0-C00D-4F41-BB4A-40D43E0DB4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581" t="-3301" r="4581" b="3301"/>
          <a:stretch/>
        </p:blipFill>
        <p:spPr bwMode="auto">
          <a:xfrm>
            <a:off x="4284822" y="2433094"/>
            <a:ext cx="873615" cy="87361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Google Shape;438;p68">
            <a:extLst>
              <a:ext uri="{FF2B5EF4-FFF2-40B4-BE49-F238E27FC236}">
                <a16:creationId xmlns:a16="http://schemas.microsoft.com/office/drawing/2014/main" id="{439DB933-4D75-421E-9F2C-DBDA5B09D4FE}"/>
              </a:ext>
            </a:extLst>
          </p:cNvPr>
          <p:cNvSpPr txBox="1"/>
          <p:nvPr/>
        </p:nvSpPr>
        <p:spPr>
          <a:xfrm>
            <a:off x="4490596" y="4116584"/>
            <a:ext cx="3306143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5.a</a:t>
            </a:r>
          </a:p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mprender reformas que otorguen a las mujeres igualdad de derechos a los recursos económicos.</a:t>
            </a: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BD6ED289-98D1-41A2-AC47-7CB467A924C3}"/>
              </a:ext>
            </a:extLst>
          </p:cNvPr>
          <p:cNvSpPr/>
          <p:nvPr/>
        </p:nvSpPr>
        <p:spPr>
          <a:xfrm>
            <a:off x="4976358" y="2964317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87C90642-E310-4658-86A5-F265B3331BDF}"/>
              </a:ext>
            </a:extLst>
          </p:cNvPr>
          <p:cNvSpPr/>
          <p:nvPr/>
        </p:nvSpPr>
        <p:spPr>
          <a:xfrm>
            <a:off x="4721630" y="3675303"/>
            <a:ext cx="284407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5. IGUALDAD DE GÉNERO</a:t>
            </a:r>
          </a:p>
        </p:txBody>
      </p:sp>
    </p:spTree>
    <p:extLst>
      <p:ext uri="{BB962C8B-B14F-4D97-AF65-F5344CB8AC3E}">
        <p14:creationId xmlns:p14="http://schemas.microsoft.com/office/powerpoint/2010/main" val="5746351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F65A76A2-7033-4C68-96A3-3A5496569546}"/>
              </a:ext>
            </a:extLst>
          </p:cNvPr>
          <p:cNvSpPr txBox="1">
            <a:spLocks/>
          </p:cNvSpPr>
          <p:nvPr/>
        </p:nvSpPr>
        <p:spPr>
          <a:xfrm>
            <a:off x="838200" y="82643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CO" sz="2400" b="1">
                <a:latin typeface="Century Gothic" panose="020B0502020202020204" pitchFamily="34" charset="0"/>
              </a:rPr>
              <a:t>¿</a:t>
            </a:r>
            <a:r>
              <a:rPr lang="es-CO" sz="2800" b="1">
                <a:latin typeface="Century Gothic" panose="020B0502020202020204" pitchFamily="34" charset="0"/>
              </a:rPr>
              <a:t>C</a:t>
            </a:r>
            <a:r>
              <a:rPr lang="es-CO" sz="2400" b="1">
                <a:latin typeface="Century Gothic" panose="020B0502020202020204" pitchFamily="34" charset="0"/>
              </a:rPr>
              <a:t>ÓMO SE </a:t>
            </a:r>
            <a:r>
              <a:rPr lang="es-CO" sz="2800" b="1">
                <a:latin typeface="Century Gothic" panose="020B0502020202020204" pitchFamily="34" charset="0"/>
              </a:rPr>
              <a:t>G</a:t>
            </a:r>
            <a:r>
              <a:rPr lang="es-CO" sz="2400" b="1">
                <a:latin typeface="Century Gothic" panose="020B0502020202020204" pitchFamily="34" charset="0"/>
              </a:rPr>
              <a:t>ARANTIZA LA </a:t>
            </a:r>
            <a:r>
              <a:rPr lang="es-CO" sz="2800" b="1">
                <a:latin typeface="Century Gothic" panose="020B0502020202020204" pitchFamily="34" charset="0"/>
              </a:rPr>
              <a:t>P</a:t>
            </a:r>
            <a:r>
              <a:rPr lang="es-CO" sz="2400" b="1">
                <a:latin typeface="Century Gothic" panose="020B0502020202020204" pitchFamily="34" charset="0"/>
              </a:rPr>
              <a:t>ARTICIPACIÓN DE LAS </a:t>
            </a:r>
            <a:r>
              <a:rPr lang="es-CO" sz="2800" b="1">
                <a:latin typeface="Century Gothic" panose="020B0502020202020204" pitchFamily="34" charset="0"/>
              </a:rPr>
              <a:t>C</a:t>
            </a:r>
            <a:r>
              <a:rPr lang="es-CO" sz="2400" b="1">
                <a:latin typeface="Century Gothic" panose="020B0502020202020204" pitchFamily="34" charset="0"/>
              </a:rPr>
              <a:t>OMUNIDADES EN EL </a:t>
            </a:r>
            <a:r>
              <a:rPr lang="es-CO" sz="2800" b="1">
                <a:latin typeface="Century Gothic" panose="020B0502020202020204" pitchFamily="34" charset="0"/>
              </a:rPr>
              <a:t>D</a:t>
            </a:r>
            <a:r>
              <a:rPr lang="es-CO" sz="2400" b="1">
                <a:latin typeface="Century Gothic" panose="020B0502020202020204" pitchFamily="34" charset="0"/>
              </a:rPr>
              <a:t>ISEÑO Y </a:t>
            </a:r>
            <a:r>
              <a:rPr lang="es-CO" sz="2800" b="1">
                <a:latin typeface="Century Gothic" panose="020B0502020202020204" pitchFamily="34" charset="0"/>
              </a:rPr>
              <a:t>E</a:t>
            </a:r>
            <a:r>
              <a:rPr lang="es-CO" sz="2400" b="1">
                <a:latin typeface="Century Gothic" panose="020B0502020202020204" pitchFamily="34" charset="0"/>
              </a:rPr>
              <a:t>JECUCIÓN DE LOS </a:t>
            </a:r>
            <a:r>
              <a:rPr lang="es-CO" sz="2800" b="1">
                <a:latin typeface="Century Gothic" panose="020B0502020202020204" pitchFamily="34" charset="0"/>
              </a:rPr>
              <a:t>P</a:t>
            </a:r>
            <a:r>
              <a:rPr lang="es-CO" sz="2400" b="1">
                <a:latin typeface="Century Gothic" panose="020B0502020202020204" pitchFamily="34" charset="0"/>
              </a:rPr>
              <a:t>ROYECTOS?</a:t>
            </a:r>
            <a:endParaRPr lang="es-CO" sz="2400" b="1" dirty="0">
              <a:latin typeface="Century Gothic" panose="020B0502020202020204" pitchFamily="34" charset="0"/>
            </a:endParaRPr>
          </a:p>
        </p:txBody>
      </p:sp>
      <p:graphicFrame>
        <p:nvGraphicFramePr>
          <p:cNvPr id="6" name="Marcador de contenido 3">
            <a:extLst>
              <a:ext uri="{FF2B5EF4-FFF2-40B4-BE49-F238E27FC236}">
                <a16:creationId xmlns:a16="http://schemas.microsoft.com/office/drawing/2014/main" id="{45930932-FDE9-4AC0-8072-29446B168C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382758"/>
              </p:ext>
            </p:extLst>
          </p:nvPr>
        </p:nvGraphicFramePr>
        <p:xfrm>
          <a:off x="1191248" y="2247282"/>
          <a:ext cx="9552954" cy="33962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338786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>
            <a:extLst>
              <a:ext uri="{FF2B5EF4-FFF2-40B4-BE49-F238E27FC236}">
                <a16:creationId xmlns:a16="http://schemas.microsoft.com/office/drawing/2014/main" id="{E36D89D8-E422-43F8-86EA-BB7964E4A6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0122" y="3013029"/>
            <a:ext cx="9262515" cy="1271864"/>
          </a:xfrm>
        </p:spPr>
        <p:txBody>
          <a:bodyPr/>
          <a:lstStyle/>
          <a:p>
            <a:r>
              <a:rPr lang="es-CO" dirty="0">
                <a:latin typeface="Century Gothic" panose="020B0502020202020204" pitchFamily="34" charset="0"/>
              </a:rPr>
              <a:t>¡GRACIAS!</a:t>
            </a:r>
          </a:p>
        </p:txBody>
      </p:sp>
    </p:spTree>
    <p:extLst>
      <p:ext uri="{BB962C8B-B14F-4D97-AF65-F5344CB8AC3E}">
        <p14:creationId xmlns:p14="http://schemas.microsoft.com/office/powerpoint/2010/main" val="27552965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F64729D3-0A05-4690-B3F2-CF92F3B18A3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370" t="6355" r="9240" b="15925"/>
          <a:stretch/>
        </p:blipFill>
        <p:spPr>
          <a:xfrm>
            <a:off x="-1" y="1438787"/>
            <a:ext cx="7977809" cy="4465983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C647A9F4-4C97-4D4F-929A-666B1763E8F0}"/>
              </a:ext>
            </a:extLst>
          </p:cNvPr>
          <p:cNvSpPr/>
          <p:nvPr/>
        </p:nvSpPr>
        <p:spPr>
          <a:xfrm>
            <a:off x="7977808" y="3429000"/>
            <a:ext cx="4191462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O" sz="1400" dirty="0">
                <a:solidFill>
                  <a:srgbClr val="010407"/>
                </a:solidFill>
                <a:latin typeface="Century Gothic" panose="020B0502020202020204" pitchFamily="34" charset="0"/>
              </a:rPr>
              <a:t>La ANI, a través de los contratos de concesión de los proyectos, ha definido obligaciones sociales dentro de las cuales se encuentran programas que contienen actividades armónicas con la </a:t>
            </a:r>
            <a:r>
              <a:rPr lang="es-CO" sz="14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promoción y respeto de los derechos humanos,</a:t>
            </a:r>
            <a:r>
              <a:rPr lang="es-CO" sz="1400" dirty="0">
                <a:solidFill>
                  <a:srgbClr val="010407"/>
                </a:solidFill>
                <a:latin typeface="Century Gothic" panose="020B0502020202020204" pitchFamily="34" charset="0"/>
              </a:rPr>
              <a:t> así como con los </a:t>
            </a:r>
            <a:r>
              <a:rPr lang="es-CO" sz="14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Objetivos de Desarrollo Sostenible</a:t>
            </a:r>
            <a:r>
              <a:rPr lang="es-CO" sz="1400" dirty="0">
                <a:solidFill>
                  <a:srgbClr val="010407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7" name="Freeform 624">
            <a:extLst>
              <a:ext uri="{FF2B5EF4-FFF2-40B4-BE49-F238E27FC236}">
                <a16:creationId xmlns:a16="http://schemas.microsoft.com/office/drawing/2014/main" id="{4E2FD421-B17C-4123-BB78-1963E4F109CA}"/>
              </a:ext>
            </a:extLst>
          </p:cNvPr>
          <p:cNvSpPr>
            <a:spLocks/>
          </p:cNvSpPr>
          <p:nvPr/>
        </p:nvSpPr>
        <p:spPr bwMode="auto">
          <a:xfrm>
            <a:off x="9281222" y="1239955"/>
            <a:ext cx="1857168" cy="1837447"/>
          </a:xfrm>
          <a:custGeom>
            <a:avLst/>
            <a:gdLst>
              <a:gd name="T0" fmla="*/ 2147483646 w 5794"/>
              <a:gd name="T1" fmla="*/ 2147483646 h 5794"/>
              <a:gd name="T2" fmla="*/ 2147483646 w 5794"/>
              <a:gd name="T3" fmla="*/ 2147483646 h 5794"/>
              <a:gd name="T4" fmla="*/ 2147483646 w 5794"/>
              <a:gd name="T5" fmla="*/ 2147483646 h 5794"/>
              <a:gd name="T6" fmla="*/ 2147483646 w 5794"/>
              <a:gd name="T7" fmla="*/ 2147483646 h 5794"/>
              <a:gd name="T8" fmla="*/ 2147483646 w 5794"/>
              <a:gd name="T9" fmla="*/ 2147483646 h 5794"/>
              <a:gd name="T10" fmla="*/ 2147483646 w 5794"/>
              <a:gd name="T11" fmla="*/ 2147483646 h 5794"/>
              <a:gd name="T12" fmla="*/ 2147483646 w 5794"/>
              <a:gd name="T13" fmla="*/ 2147483646 h 5794"/>
              <a:gd name="T14" fmla="*/ 2147483646 w 5794"/>
              <a:gd name="T15" fmla="*/ 2147483646 h 5794"/>
              <a:gd name="T16" fmla="*/ 2147483646 w 5794"/>
              <a:gd name="T17" fmla="*/ 2147483646 h 5794"/>
              <a:gd name="T18" fmla="*/ 2147483646 w 5794"/>
              <a:gd name="T19" fmla="*/ 2147483646 h 5794"/>
              <a:gd name="T20" fmla="*/ 2147483646 w 5794"/>
              <a:gd name="T21" fmla="*/ 2147483646 h 5794"/>
              <a:gd name="T22" fmla="*/ 2147483646 w 5794"/>
              <a:gd name="T23" fmla="*/ 2147483646 h 5794"/>
              <a:gd name="T24" fmla="*/ 2147483646 w 5794"/>
              <a:gd name="T25" fmla="*/ 2147483646 h 5794"/>
              <a:gd name="T26" fmla="*/ 2147483646 w 5794"/>
              <a:gd name="T27" fmla="*/ 2147483646 h 5794"/>
              <a:gd name="T28" fmla="*/ 2147483646 w 5794"/>
              <a:gd name="T29" fmla="*/ 2147483646 h 5794"/>
              <a:gd name="T30" fmla="*/ 2147483646 w 5794"/>
              <a:gd name="T31" fmla="*/ 2147483646 h 5794"/>
              <a:gd name="T32" fmla="*/ 2147483646 w 5794"/>
              <a:gd name="T33" fmla="*/ 2147483646 h 5794"/>
              <a:gd name="T34" fmla="*/ 2147483646 w 5794"/>
              <a:gd name="T35" fmla="*/ 2147483646 h 5794"/>
              <a:gd name="T36" fmla="*/ 2147483646 w 5794"/>
              <a:gd name="T37" fmla="*/ 2147483646 h 5794"/>
              <a:gd name="T38" fmla="*/ 2147483646 w 5794"/>
              <a:gd name="T39" fmla="*/ 2147483646 h 5794"/>
              <a:gd name="T40" fmla="*/ 2147483646 w 5794"/>
              <a:gd name="T41" fmla="*/ 2147483646 h 5794"/>
              <a:gd name="T42" fmla="*/ 2147483646 w 5794"/>
              <a:gd name="T43" fmla="*/ 2147483646 h 5794"/>
              <a:gd name="T44" fmla="*/ 2147483646 w 5794"/>
              <a:gd name="T45" fmla="*/ 2147483646 h 5794"/>
              <a:gd name="T46" fmla="*/ 2147483646 w 5794"/>
              <a:gd name="T47" fmla="*/ 2147483646 h 5794"/>
              <a:gd name="T48" fmla="*/ 2147483646 w 5794"/>
              <a:gd name="T49" fmla="*/ 2147483646 h 5794"/>
              <a:gd name="T50" fmla="*/ 2147483646 w 5794"/>
              <a:gd name="T51" fmla="*/ 2147483646 h 5794"/>
              <a:gd name="T52" fmla="*/ 2147483646 w 5794"/>
              <a:gd name="T53" fmla="*/ 2147483646 h 5794"/>
              <a:gd name="T54" fmla="*/ 2147483646 w 5794"/>
              <a:gd name="T55" fmla="*/ 2147483646 h 5794"/>
              <a:gd name="T56" fmla="*/ 2147483646 w 5794"/>
              <a:gd name="T57" fmla="*/ 2147483646 h 5794"/>
              <a:gd name="T58" fmla="*/ 2147483646 w 5794"/>
              <a:gd name="T59" fmla="*/ 2147483646 h 5794"/>
              <a:gd name="T60" fmla="*/ 2147483646 w 5794"/>
              <a:gd name="T61" fmla="*/ 2147483646 h 5794"/>
              <a:gd name="T62" fmla="*/ 2147483646 w 5794"/>
              <a:gd name="T63" fmla="*/ 0 h 5794"/>
              <a:gd name="T64" fmla="*/ 2147483646 w 5794"/>
              <a:gd name="T65" fmla="*/ 2147483646 h 5794"/>
              <a:gd name="T66" fmla="*/ 2147483646 w 5794"/>
              <a:gd name="T67" fmla="*/ 2147483646 h 5794"/>
              <a:gd name="T68" fmla="*/ 2147483646 w 5794"/>
              <a:gd name="T69" fmla="*/ 2147483646 h 5794"/>
              <a:gd name="T70" fmla="*/ 2147483646 w 5794"/>
              <a:gd name="T71" fmla="*/ 2147483646 h 5794"/>
              <a:gd name="T72" fmla="*/ 2147483646 w 5794"/>
              <a:gd name="T73" fmla="*/ 2147483646 h 5794"/>
              <a:gd name="T74" fmla="*/ 2147483646 w 5794"/>
              <a:gd name="T75" fmla="*/ 2147483646 h 5794"/>
              <a:gd name="T76" fmla="*/ 2147483646 w 5794"/>
              <a:gd name="T77" fmla="*/ 2147483646 h 5794"/>
              <a:gd name="T78" fmla="*/ 2147483646 w 5794"/>
              <a:gd name="T79" fmla="*/ 2147483646 h 5794"/>
              <a:gd name="T80" fmla="*/ 2147483646 w 5794"/>
              <a:gd name="T81" fmla="*/ 2147483646 h 5794"/>
              <a:gd name="T82" fmla="*/ 2147483646 w 5794"/>
              <a:gd name="T83" fmla="*/ 2147483646 h 5794"/>
              <a:gd name="T84" fmla="*/ 2147483646 w 5794"/>
              <a:gd name="T85" fmla="*/ 2147483646 h 5794"/>
              <a:gd name="T86" fmla="*/ 2147483646 w 5794"/>
              <a:gd name="T87" fmla="*/ 2147483646 h 5794"/>
              <a:gd name="T88" fmla="*/ 2147483646 w 5794"/>
              <a:gd name="T89" fmla="*/ 2147483646 h 5794"/>
              <a:gd name="T90" fmla="*/ 2147483646 w 5794"/>
              <a:gd name="T91" fmla="*/ 2147483646 h 5794"/>
              <a:gd name="T92" fmla="*/ 2147483646 w 5794"/>
              <a:gd name="T93" fmla="*/ 2147483646 h 5794"/>
              <a:gd name="T94" fmla="*/ 2147483646 w 5794"/>
              <a:gd name="T95" fmla="*/ 2147483646 h 5794"/>
              <a:gd name="T96" fmla="*/ 2147483646 w 5794"/>
              <a:gd name="T97" fmla="*/ 2147483646 h 5794"/>
              <a:gd name="T98" fmla="*/ 2147483646 w 5794"/>
              <a:gd name="T99" fmla="*/ 2147483646 h 5794"/>
              <a:gd name="T100" fmla="*/ 2147483646 w 5794"/>
              <a:gd name="T101" fmla="*/ 2147483646 h 5794"/>
              <a:gd name="T102" fmla="*/ 2147483646 w 5794"/>
              <a:gd name="T103" fmla="*/ 2147483646 h 5794"/>
              <a:gd name="T104" fmla="*/ 2147483646 w 5794"/>
              <a:gd name="T105" fmla="*/ 2147483646 h 5794"/>
              <a:gd name="T106" fmla="*/ 2147483646 w 5794"/>
              <a:gd name="T107" fmla="*/ 2147483646 h 5794"/>
              <a:gd name="T108" fmla="*/ 2147483646 w 5794"/>
              <a:gd name="T109" fmla="*/ 2147483646 h 579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5794"/>
              <a:gd name="T166" fmla="*/ 0 h 5794"/>
              <a:gd name="T167" fmla="*/ 5794 w 5794"/>
              <a:gd name="T168" fmla="*/ 5794 h 579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5794" h="5794">
                <a:moveTo>
                  <a:pt x="5018" y="2848"/>
                </a:moveTo>
                <a:lnTo>
                  <a:pt x="5072" y="2845"/>
                </a:lnTo>
                <a:lnTo>
                  <a:pt x="5194" y="2823"/>
                </a:lnTo>
                <a:lnTo>
                  <a:pt x="5326" y="2783"/>
                </a:lnTo>
                <a:lnTo>
                  <a:pt x="5462" y="2727"/>
                </a:lnTo>
                <a:lnTo>
                  <a:pt x="5528" y="2694"/>
                </a:lnTo>
                <a:lnTo>
                  <a:pt x="5552" y="2683"/>
                </a:lnTo>
                <a:lnTo>
                  <a:pt x="5598" y="2674"/>
                </a:lnTo>
                <a:lnTo>
                  <a:pt x="5644" y="2677"/>
                </a:lnTo>
                <a:lnTo>
                  <a:pt x="5688" y="2691"/>
                </a:lnTo>
                <a:lnTo>
                  <a:pt x="5725" y="2714"/>
                </a:lnTo>
                <a:lnTo>
                  <a:pt x="5758" y="2748"/>
                </a:lnTo>
                <a:lnTo>
                  <a:pt x="5780" y="2787"/>
                </a:lnTo>
                <a:lnTo>
                  <a:pt x="5793" y="2834"/>
                </a:lnTo>
                <a:lnTo>
                  <a:pt x="5794" y="2858"/>
                </a:lnTo>
                <a:lnTo>
                  <a:pt x="5794" y="4489"/>
                </a:lnTo>
                <a:lnTo>
                  <a:pt x="4175" y="4489"/>
                </a:lnTo>
                <a:lnTo>
                  <a:pt x="4150" y="4490"/>
                </a:lnTo>
                <a:lnTo>
                  <a:pt x="4105" y="4502"/>
                </a:lnTo>
                <a:lnTo>
                  <a:pt x="4065" y="4525"/>
                </a:lnTo>
                <a:lnTo>
                  <a:pt x="4034" y="4556"/>
                </a:lnTo>
                <a:lnTo>
                  <a:pt x="4009" y="4595"/>
                </a:lnTo>
                <a:lnTo>
                  <a:pt x="3996" y="4638"/>
                </a:lnTo>
                <a:lnTo>
                  <a:pt x="3994" y="4683"/>
                </a:lnTo>
                <a:lnTo>
                  <a:pt x="4003" y="4731"/>
                </a:lnTo>
                <a:lnTo>
                  <a:pt x="4012" y="4753"/>
                </a:lnTo>
                <a:lnTo>
                  <a:pt x="4044" y="4821"/>
                </a:lnTo>
                <a:lnTo>
                  <a:pt x="4097" y="4957"/>
                </a:lnTo>
                <a:lnTo>
                  <a:pt x="4135" y="5089"/>
                </a:lnTo>
                <a:lnTo>
                  <a:pt x="4156" y="5211"/>
                </a:lnTo>
                <a:lnTo>
                  <a:pt x="4158" y="5265"/>
                </a:lnTo>
                <a:lnTo>
                  <a:pt x="4157" y="5298"/>
                </a:lnTo>
                <a:lnTo>
                  <a:pt x="4150" y="5359"/>
                </a:lnTo>
                <a:lnTo>
                  <a:pt x="4139" y="5414"/>
                </a:lnTo>
                <a:lnTo>
                  <a:pt x="4121" y="5467"/>
                </a:lnTo>
                <a:lnTo>
                  <a:pt x="4099" y="5517"/>
                </a:lnTo>
                <a:lnTo>
                  <a:pt x="4070" y="5562"/>
                </a:lnTo>
                <a:lnTo>
                  <a:pt x="4020" y="5623"/>
                </a:lnTo>
                <a:lnTo>
                  <a:pt x="3938" y="5690"/>
                </a:lnTo>
                <a:lnTo>
                  <a:pt x="3841" y="5741"/>
                </a:lnTo>
                <a:lnTo>
                  <a:pt x="3732" y="5775"/>
                </a:lnTo>
                <a:lnTo>
                  <a:pt x="3614" y="5793"/>
                </a:lnTo>
                <a:lnTo>
                  <a:pt x="3552" y="5794"/>
                </a:lnTo>
                <a:lnTo>
                  <a:pt x="3489" y="5793"/>
                </a:lnTo>
                <a:lnTo>
                  <a:pt x="3371" y="5775"/>
                </a:lnTo>
                <a:lnTo>
                  <a:pt x="3263" y="5741"/>
                </a:lnTo>
                <a:lnTo>
                  <a:pt x="3165" y="5690"/>
                </a:lnTo>
                <a:lnTo>
                  <a:pt x="3084" y="5623"/>
                </a:lnTo>
                <a:lnTo>
                  <a:pt x="3033" y="5562"/>
                </a:lnTo>
                <a:lnTo>
                  <a:pt x="3006" y="5517"/>
                </a:lnTo>
                <a:lnTo>
                  <a:pt x="2983" y="5467"/>
                </a:lnTo>
                <a:lnTo>
                  <a:pt x="2964" y="5414"/>
                </a:lnTo>
                <a:lnTo>
                  <a:pt x="2953" y="5359"/>
                </a:lnTo>
                <a:lnTo>
                  <a:pt x="2946" y="5298"/>
                </a:lnTo>
                <a:lnTo>
                  <a:pt x="2946" y="5265"/>
                </a:lnTo>
                <a:lnTo>
                  <a:pt x="2948" y="5211"/>
                </a:lnTo>
                <a:lnTo>
                  <a:pt x="2970" y="5089"/>
                </a:lnTo>
                <a:lnTo>
                  <a:pt x="3011" y="4957"/>
                </a:lnTo>
                <a:lnTo>
                  <a:pt x="3067" y="4821"/>
                </a:lnTo>
                <a:lnTo>
                  <a:pt x="3099" y="4753"/>
                </a:lnTo>
                <a:lnTo>
                  <a:pt x="3110" y="4731"/>
                </a:lnTo>
                <a:lnTo>
                  <a:pt x="3120" y="4685"/>
                </a:lnTo>
                <a:lnTo>
                  <a:pt x="3117" y="4639"/>
                </a:lnTo>
                <a:lnTo>
                  <a:pt x="3103" y="4595"/>
                </a:lnTo>
                <a:lnTo>
                  <a:pt x="3079" y="4558"/>
                </a:lnTo>
                <a:lnTo>
                  <a:pt x="3046" y="4525"/>
                </a:lnTo>
                <a:lnTo>
                  <a:pt x="3006" y="4503"/>
                </a:lnTo>
                <a:lnTo>
                  <a:pt x="2961" y="4490"/>
                </a:lnTo>
                <a:lnTo>
                  <a:pt x="2935" y="4489"/>
                </a:lnTo>
                <a:lnTo>
                  <a:pt x="1305" y="4489"/>
                </a:lnTo>
                <a:lnTo>
                  <a:pt x="1305" y="2858"/>
                </a:lnTo>
                <a:lnTo>
                  <a:pt x="1304" y="2834"/>
                </a:lnTo>
                <a:lnTo>
                  <a:pt x="1291" y="2787"/>
                </a:lnTo>
                <a:lnTo>
                  <a:pt x="1268" y="2748"/>
                </a:lnTo>
                <a:lnTo>
                  <a:pt x="1237" y="2714"/>
                </a:lnTo>
                <a:lnTo>
                  <a:pt x="1198" y="2691"/>
                </a:lnTo>
                <a:lnTo>
                  <a:pt x="1155" y="2677"/>
                </a:lnTo>
                <a:lnTo>
                  <a:pt x="1110" y="2674"/>
                </a:lnTo>
                <a:lnTo>
                  <a:pt x="1063" y="2683"/>
                </a:lnTo>
                <a:lnTo>
                  <a:pt x="1040" y="2694"/>
                </a:lnTo>
                <a:lnTo>
                  <a:pt x="972" y="2727"/>
                </a:lnTo>
                <a:lnTo>
                  <a:pt x="836" y="2783"/>
                </a:lnTo>
                <a:lnTo>
                  <a:pt x="705" y="2823"/>
                </a:lnTo>
                <a:lnTo>
                  <a:pt x="582" y="2845"/>
                </a:lnTo>
                <a:lnTo>
                  <a:pt x="528" y="2848"/>
                </a:lnTo>
                <a:lnTo>
                  <a:pt x="497" y="2848"/>
                </a:lnTo>
                <a:lnTo>
                  <a:pt x="436" y="2841"/>
                </a:lnTo>
                <a:lnTo>
                  <a:pt x="379" y="2829"/>
                </a:lnTo>
                <a:lnTo>
                  <a:pt x="326" y="2812"/>
                </a:lnTo>
                <a:lnTo>
                  <a:pt x="276" y="2788"/>
                </a:lnTo>
                <a:lnTo>
                  <a:pt x="231" y="2760"/>
                </a:lnTo>
                <a:lnTo>
                  <a:pt x="170" y="2711"/>
                </a:lnTo>
                <a:lnTo>
                  <a:pt x="104" y="2628"/>
                </a:lnTo>
                <a:lnTo>
                  <a:pt x="53" y="2532"/>
                </a:lnTo>
                <a:lnTo>
                  <a:pt x="18" y="2423"/>
                </a:lnTo>
                <a:lnTo>
                  <a:pt x="2" y="2305"/>
                </a:lnTo>
                <a:lnTo>
                  <a:pt x="0" y="2243"/>
                </a:lnTo>
                <a:lnTo>
                  <a:pt x="2" y="2180"/>
                </a:lnTo>
                <a:lnTo>
                  <a:pt x="18" y="2061"/>
                </a:lnTo>
                <a:lnTo>
                  <a:pt x="53" y="1952"/>
                </a:lnTo>
                <a:lnTo>
                  <a:pt x="104" y="1856"/>
                </a:lnTo>
                <a:lnTo>
                  <a:pt x="170" y="1773"/>
                </a:lnTo>
                <a:lnTo>
                  <a:pt x="231" y="1724"/>
                </a:lnTo>
                <a:lnTo>
                  <a:pt x="276" y="1696"/>
                </a:lnTo>
                <a:lnTo>
                  <a:pt x="326" y="1672"/>
                </a:lnTo>
                <a:lnTo>
                  <a:pt x="379" y="1656"/>
                </a:lnTo>
                <a:lnTo>
                  <a:pt x="436" y="1643"/>
                </a:lnTo>
                <a:lnTo>
                  <a:pt x="497" y="1637"/>
                </a:lnTo>
                <a:lnTo>
                  <a:pt x="528" y="1636"/>
                </a:lnTo>
                <a:lnTo>
                  <a:pt x="582" y="1639"/>
                </a:lnTo>
                <a:lnTo>
                  <a:pt x="705" y="1658"/>
                </a:lnTo>
                <a:lnTo>
                  <a:pt x="838" y="1697"/>
                </a:lnTo>
                <a:lnTo>
                  <a:pt x="972" y="1750"/>
                </a:lnTo>
                <a:lnTo>
                  <a:pt x="1040" y="1781"/>
                </a:lnTo>
                <a:lnTo>
                  <a:pt x="1063" y="1792"/>
                </a:lnTo>
                <a:lnTo>
                  <a:pt x="1110" y="1801"/>
                </a:lnTo>
                <a:lnTo>
                  <a:pt x="1156" y="1798"/>
                </a:lnTo>
                <a:lnTo>
                  <a:pt x="1199" y="1784"/>
                </a:lnTo>
                <a:lnTo>
                  <a:pt x="1237" y="1760"/>
                </a:lnTo>
                <a:lnTo>
                  <a:pt x="1269" y="1728"/>
                </a:lnTo>
                <a:lnTo>
                  <a:pt x="1291" y="1689"/>
                </a:lnTo>
                <a:lnTo>
                  <a:pt x="1304" y="1644"/>
                </a:lnTo>
                <a:lnTo>
                  <a:pt x="1305" y="1618"/>
                </a:lnTo>
                <a:lnTo>
                  <a:pt x="1305" y="0"/>
                </a:lnTo>
                <a:lnTo>
                  <a:pt x="1305" y="310"/>
                </a:lnTo>
                <a:lnTo>
                  <a:pt x="1305" y="0"/>
                </a:lnTo>
                <a:lnTo>
                  <a:pt x="2935" y="0"/>
                </a:lnTo>
                <a:lnTo>
                  <a:pt x="2961" y="2"/>
                </a:lnTo>
                <a:lnTo>
                  <a:pt x="3006" y="13"/>
                </a:lnTo>
                <a:lnTo>
                  <a:pt x="3046" y="37"/>
                </a:lnTo>
                <a:lnTo>
                  <a:pt x="3079" y="69"/>
                </a:lnTo>
                <a:lnTo>
                  <a:pt x="3103" y="107"/>
                </a:lnTo>
                <a:lnTo>
                  <a:pt x="3117" y="149"/>
                </a:lnTo>
                <a:lnTo>
                  <a:pt x="3120" y="196"/>
                </a:lnTo>
                <a:lnTo>
                  <a:pt x="3110" y="243"/>
                </a:lnTo>
                <a:lnTo>
                  <a:pt x="3099" y="265"/>
                </a:lnTo>
                <a:lnTo>
                  <a:pt x="3067" y="332"/>
                </a:lnTo>
                <a:lnTo>
                  <a:pt x="3011" y="468"/>
                </a:lnTo>
                <a:lnTo>
                  <a:pt x="2970" y="600"/>
                </a:lnTo>
                <a:lnTo>
                  <a:pt x="2948" y="722"/>
                </a:lnTo>
                <a:lnTo>
                  <a:pt x="2946" y="777"/>
                </a:lnTo>
                <a:lnTo>
                  <a:pt x="2946" y="809"/>
                </a:lnTo>
                <a:lnTo>
                  <a:pt x="2953" y="869"/>
                </a:lnTo>
                <a:lnTo>
                  <a:pt x="2964" y="926"/>
                </a:lnTo>
                <a:lnTo>
                  <a:pt x="2983" y="979"/>
                </a:lnTo>
                <a:lnTo>
                  <a:pt x="3006" y="1028"/>
                </a:lnTo>
                <a:lnTo>
                  <a:pt x="3033" y="1074"/>
                </a:lnTo>
                <a:lnTo>
                  <a:pt x="3084" y="1134"/>
                </a:lnTo>
                <a:lnTo>
                  <a:pt x="3165" y="1202"/>
                </a:lnTo>
                <a:lnTo>
                  <a:pt x="3263" y="1252"/>
                </a:lnTo>
                <a:lnTo>
                  <a:pt x="3371" y="1286"/>
                </a:lnTo>
                <a:lnTo>
                  <a:pt x="3489" y="1303"/>
                </a:lnTo>
                <a:lnTo>
                  <a:pt x="3552" y="1304"/>
                </a:lnTo>
                <a:lnTo>
                  <a:pt x="3614" y="1303"/>
                </a:lnTo>
                <a:lnTo>
                  <a:pt x="3732" y="1286"/>
                </a:lnTo>
                <a:lnTo>
                  <a:pt x="3841" y="1252"/>
                </a:lnTo>
                <a:lnTo>
                  <a:pt x="3938" y="1202"/>
                </a:lnTo>
                <a:lnTo>
                  <a:pt x="4020" y="1134"/>
                </a:lnTo>
                <a:lnTo>
                  <a:pt x="4070" y="1074"/>
                </a:lnTo>
                <a:lnTo>
                  <a:pt x="4099" y="1028"/>
                </a:lnTo>
                <a:lnTo>
                  <a:pt x="4121" y="979"/>
                </a:lnTo>
                <a:lnTo>
                  <a:pt x="4139" y="926"/>
                </a:lnTo>
                <a:lnTo>
                  <a:pt x="4150" y="869"/>
                </a:lnTo>
                <a:lnTo>
                  <a:pt x="4157" y="809"/>
                </a:lnTo>
                <a:lnTo>
                  <a:pt x="4158" y="777"/>
                </a:lnTo>
                <a:lnTo>
                  <a:pt x="4156" y="722"/>
                </a:lnTo>
                <a:lnTo>
                  <a:pt x="4135" y="600"/>
                </a:lnTo>
                <a:lnTo>
                  <a:pt x="4097" y="468"/>
                </a:lnTo>
                <a:lnTo>
                  <a:pt x="4044" y="332"/>
                </a:lnTo>
                <a:lnTo>
                  <a:pt x="4012" y="265"/>
                </a:lnTo>
                <a:lnTo>
                  <a:pt x="4003" y="241"/>
                </a:lnTo>
                <a:lnTo>
                  <a:pt x="3994" y="195"/>
                </a:lnTo>
                <a:lnTo>
                  <a:pt x="3996" y="149"/>
                </a:lnTo>
                <a:lnTo>
                  <a:pt x="4009" y="107"/>
                </a:lnTo>
                <a:lnTo>
                  <a:pt x="4034" y="68"/>
                </a:lnTo>
                <a:lnTo>
                  <a:pt x="4065" y="37"/>
                </a:lnTo>
                <a:lnTo>
                  <a:pt x="4105" y="13"/>
                </a:lnTo>
                <a:lnTo>
                  <a:pt x="4150" y="2"/>
                </a:lnTo>
                <a:lnTo>
                  <a:pt x="4175" y="0"/>
                </a:lnTo>
                <a:lnTo>
                  <a:pt x="5794" y="0"/>
                </a:lnTo>
                <a:lnTo>
                  <a:pt x="5794" y="1618"/>
                </a:lnTo>
                <a:lnTo>
                  <a:pt x="5793" y="1644"/>
                </a:lnTo>
                <a:lnTo>
                  <a:pt x="5780" y="1689"/>
                </a:lnTo>
                <a:lnTo>
                  <a:pt x="5758" y="1728"/>
                </a:lnTo>
                <a:lnTo>
                  <a:pt x="5725" y="1760"/>
                </a:lnTo>
                <a:lnTo>
                  <a:pt x="5688" y="1784"/>
                </a:lnTo>
                <a:lnTo>
                  <a:pt x="5645" y="1798"/>
                </a:lnTo>
                <a:lnTo>
                  <a:pt x="5599" y="1801"/>
                </a:lnTo>
                <a:lnTo>
                  <a:pt x="5552" y="1792"/>
                </a:lnTo>
                <a:lnTo>
                  <a:pt x="5529" y="1781"/>
                </a:lnTo>
                <a:lnTo>
                  <a:pt x="5462" y="1750"/>
                </a:lnTo>
                <a:lnTo>
                  <a:pt x="5326" y="1697"/>
                </a:lnTo>
                <a:lnTo>
                  <a:pt x="5194" y="1658"/>
                </a:lnTo>
                <a:lnTo>
                  <a:pt x="5072" y="1639"/>
                </a:lnTo>
                <a:lnTo>
                  <a:pt x="5018" y="1636"/>
                </a:lnTo>
                <a:lnTo>
                  <a:pt x="4985" y="1637"/>
                </a:lnTo>
                <a:lnTo>
                  <a:pt x="4924" y="1643"/>
                </a:lnTo>
                <a:lnTo>
                  <a:pt x="4868" y="1656"/>
                </a:lnTo>
                <a:lnTo>
                  <a:pt x="4815" y="1672"/>
                </a:lnTo>
                <a:lnTo>
                  <a:pt x="4766" y="1696"/>
                </a:lnTo>
                <a:lnTo>
                  <a:pt x="4721" y="1724"/>
                </a:lnTo>
                <a:lnTo>
                  <a:pt x="4660" y="1773"/>
                </a:lnTo>
                <a:lnTo>
                  <a:pt x="4592" y="1856"/>
                </a:lnTo>
                <a:lnTo>
                  <a:pt x="4542" y="1952"/>
                </a:lnTo>
                <a:lnTo>
                  <a:pt x="4508" y="2061"/>
                </a:lnTo>
                <a:lnTo>
                  <a:pt x="4490" y="2180"/>
                </a:lnTo>
                <a:lnTo>
                  <a:pt x="4489" y="2243"/>
                </a:lnTo>
                <a:lnTo>
                  <a:pt x="4490" y="2305"/>
                </a:lnTo>
                <a:lnTo>
                  <a:pt x="4508" y="2423"/>
                </a:lnTo>
                <a:lnTo>
                  <a:pt x="4542" y="2532"/>
                </a:lnTo>
                <a:lnTo>
                  <a:pt x="4592" y="2628"/>
                </a:lnTo>
                <a:lnTo>
                  <a:pt x="4660" y="2711"/>
                </a:lnTo>
                <a:lnTo>
                  <a:pt x="4721" y="2760"/>
                </a:lnTo>
                <a:lnTo>
                  <a:pt x="4766" y="2788"/>
                </a:lnTo>
                <a:lnTo>
                  <a:pt x="4815" y="2812"/>
                </a:lnTo>
                <a:lnTo>
                  <a:pt x="4868" y="2829"/>
                </a:lnTo>
                <a:lnTo>
                  <a:pt x="4924" y="2841"/>
                </a:lnTo>
                <a:lnTo>
                  <a:pt x="4985" y="2848"/>
                </a:lnTo>
                <a:lnTo>
                  <a:pt x="5018" y="284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grpSp>
        <p:nvGrpSpPr>
          <p:cNvPr id="8" name="Group 62">
            <a:extLst>
              <a:ext uri="{FF2B5EF4-FFF2-40B4-BE49-F238E27FC236}">
                <a16:creationId xmlns:a16="http://schemas.microsoft.com/office/drawing/2014/main" id="{7F1FCC62-EB12-4301-85C4-F183F8401709}"/>
              </a:ext>
            </a:extLst>
          </p:cNvPr>
          <p:cNvGrpSpPr>
            <a:grpSpLocks/>
          </p:cNvGrpSpPr>
          <p:nvPr/>
        </p:nvGrpSpPr>
        <p:grpSpPr bwMode="auto">
          <a:xfrm>
            <a:off x="10227758" y="1143303"/>
            <a:ext cx="1941512" cy="1122363"/>
            <a:chOff x="10243750" y="1881543"/>
            <a:chExt cx="1942598" cy="1121279"/>
          </a:xfrm>
        </p:grpSpPr>
        <p:sp>
          <p:nvSpPr>
            <p:cNvPr id="9" name="Freeform 3127">
              <a:extLst>
                <a:ext uri="{FF2B5EF4-FFF2-40B4-BE49-F238E27FC236}">
                  <a16:creationId xmlns:a16="http://schemas.microsoft.com/office/drawing/2014/main" id="{407C6F11-97F6-4890-8E57-732D1222E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9332" y="2039856"/>
              <a:ext cx="678481" cy="626107"/>
            </a:xfrm>
            <a:custGeom>
              <a:avLst/>
              <a:gdLst>
                <a:gd name="T0" fmla="*/ 2147483646 w 570"/>
                <a:gd name="T1" fmla="*/ 0 h 526"/>
                <a:gd name="T2" fmla="*/ 2147483646 w 570"/>
                <a:gd name="T3" fmla="*/ 2147483646 h 526"/>
                <a:gd name="T4" fmla="*/ 2147483646 w 570"/>
                <a:gd name="T5" fmla="*/ 2147483646 h 526"/>
                <a:gd name="T6" fmla="*/ 0 w 570"/>
                <a:gd name="T7" fmla="*/ 2147483646 h 526"/>
                <a:gd name="T8" fmla="*/ 2147483646 w 570"/>
                <a:gd name="T9" fmla="*/ 0 h 5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70"/>
                <a:gd name="T16" fmla="*/ 0 h 526"/>
                <a:gd name="T17" fmla="*/ 570 w 570"/>
                <a:gd name="T18" fmla="*/ 526 h 52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70" h="526">
                  <a:moveTo>
                    <a:pt x="465" y="0"/>
                  </a:moveTo>
                  <a:lnTo>
                    <a:pt x="570" y="407"/>
                  </a:lnTo>
                  <a:lnTo>
                    <a:pt x="105" y="526"/>
                  </a:lnTo>
                  <a:lnTo>
                    <a:pt x="0" y="121"/>
                  </a:lnTo>
                  <a:lnTo>
                    <a:pt x="465" y="0"/>
                  </a:lnTo>
                  <a:close/>
                </a:path>
              </a:pathLst>
            </a:custGeom>
            <a:solidFill>
              <a:srgbClr val="EBC09F"/>
            </a:solidFill>
            <a:ln w="0">
              <a:solidFill>
                <a:srgbClr val="EBC09F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0" name="Freeform 3128">
              <a:extLst>
                <a:ext uri="{FF2B5EF4-FFF2-40B4-BE49-F238E27FC236}">
                  <a16:creationId xmlns:a16="http://schemas.microsoft.com/office/drawing/2014/main" id="{D3FCC139-D8F4-421C-B305-3E851F22F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6299" y="2119606"/>
              <a:ext cx="657055" cy="736807"/>
            </a:xfrm>
            <a:custGeom>
              <a:avLst/>
              <a:gdLst>
                <a:gd name="T0" fmla="*/ 2147483646 w 552"/>
                <a:gd name="T1" fmla="*/ 0 h 619"/>
                <a:gd name="T2" fmla="*/ 2147483646 w 552"/>
                <a:gd name="T3" fmla="*/ 2147483646 h 619"/>
                <a:gd name="T4" fmla="*/ 2147483646 w 552"/>
                <a:gd name="T5" fmla="*/ 2147483646 h 619"/>
                <a:gd name="T6" fmla="*/ 2147483646 w 552"/>
                <a:gd name="T7" fmla="*/ 2147483646 h 619"/>
                <a:gd name="T8" fmla="*/ 2147483646 w 552"/>
                <a:gd name="T9" fmla="*/ 2147483646 h 619"/>
                <a:gd name="T10" fmla="*/ 2147483646 w 552"/>
                <a:gd name="T11" fmla="*/ 2147483646 h 619"/>
                <a:gd name="T12" fmla="*/ 2147483646 w 552"/>
                <a:gd name="T13" fmla="*/ 2147483646 h 619"/>
                <a:gd name="T14" fmla="*/ 2147483646 w 552"/>
                <a:gd name="T15" fmla="*/ 2147483646 h 619"/>
                <a:gd name="T16" fmla="*/ 2147483646 w 552"/>
                <a:gd name="T17" fmla="*/ 2147483646 h 619"/>
                <a:gd name="T18" fmla="*/ 2147483646 w 552"/>
                <a:gd name="T19" fmla="*/ 2147483646 h 619"/>
                <a:gd name="T20" fmla="*/ 2147483646 w 552"/>
                <a:gd name="T21" fmla="*/ 2147483646 h 619"/>
                <a:gd name="T22" fmla="*/ 2147483646 w 552"/>
                <a:gd name="T23" fmla="*/ 2147483646 h 619"/>
                <a:gd name="T24" fmla="*/ 2147483646 w 552"/>
                <a:gd name="T25" fmla="*/ 2147483646 h 619"/>
                <a:gd name="T26" fmla="*/ 2147483646 w 552"/>
                <a:gd name="T27" fmla="*/ 2147483646 h 619"/>
                <a:gd name="T28" fmla="*/ 2147483646 w 552"/>
                <a:gd name="T29" fmla="*/ 2147483646 h 619"/>
                <a:gd name="T30" fmla="*/ 2147483646 w 552"/>
                <a:gd name="T31" fmla="*/ 2147483646 h 619"/>
                <a:gd name="T32" fmla="*/ 2147483646 w 552"/>
                <a:gd name="T33" fmla="*/ 2147483646 h 619"/>
                <a:gd name="T34" fmla="*/ 2147483646 w 552"/>
                <a:gd name="T35" fmla="*/ 2147483646 h 619"/>
                <a:gd name="T36" fmla="*/ 2147483646 w 552"/>
                <a:gd name="T37" fmla="*/ 2147483646 h 619"/>
                <a:gd name="T38" fmla="*/ 2147483646 w 552"/>
                <a:gd name="T39" fmla="*/ 2147483646 h 619"/>
                <a:gd name="T40" fmla="*/ 2147483646 w 552"/>
                <a:gd name="T41" fmla="*/ 2147483646 h 619"/>
                <a:gd name="T42" fmla="*/ 2147483646 w 552"/>
                <a:gd name="T43" fmla="*/ 2147483646 h 619"/>
                <a:gd name="T44" fmla="*/ 2147483646 w 552"/>
                <a:gd name="T45" fmla="*/ 2147483646 h 619"/>
                <a:gd name="T46" fmla="*/ 2147483646 w 552"/>
                <a:gd name="T47" fmla="*/ 2147483646 h 619"/>
                <a:gd name="T48" fmla="*/ 2147483646 w 552"/>
                <a:gd name="T49" fmla="*/ 2147483646 h 619"/>
                <a:gd name="T50" fmla="*/ 0 w 552"/>
                <a:gd name="T51" fmla="*/ 2147483646 h 619"/>
                <a:gd name="T52" fmla="*/ 2147483646 w 552"/>
                <a:gd name="T53" fmla="*/ 2147483646 h 619"/>
                <a:gd name="T54" fmla="*/ 2147483646 w 552"/>
                <a:gd name="T55" fmla="*/ 2147483646 h 619"/>
                <a:gd name="T56" fmla="*/ 2147483646 w 552"/>
                <a:gd name="T57" fmla="*/ 2147483646 h 619"/>
                <a:gd name="T58" fmla="*/ 2147483646 w 552"/>
                <a:gd name="T59" fmla="*/ 2147483646 h 619"/>
                <a:gd name="T60" fmla="*/ 2147483646 w 552"/>
                <a:gd name="T61" fmla="*/ 2147483646 h 619"/>
                <a:gd name="T62" fmla="*/ 2147483646 w 552"/>
                <a:gd name="T63" fmla="*/ 0 h 619"/>
                <a:gd name="T64" fmla="*/ 2147483646 w 552"/>
                <a:gd name="T65" fmla="*/ 0 h 6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552"/>
                <a:gd name="T100" fmla="*/ 0 h 619"/>
                <a:gd name="T101" fmla="*/ 552 w 552"/>
                <a:gd name="T102" fmla="*/ 619 h 6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552" h="619">
                  <a:moveTo>
                    <a:pt x="308" y="0"/>
                  </a:moveTo>
                  <a:lnTo>
                    <a:pt x="336" y="2"/>
                  </a:lnTo>
                  <a:lnTo>
                    <a:pt x="360" y="10"/>
                  </a:lnTo>
                  <a:lnTo>
                    <a:pt x="381" y="21"/>
                  </a:lnTo>
                  <a:lnTo>
                    <a:pt x="401" y="34"/>
                  </a:lnTo>
                  <a:lnTo>
                    <a:pt x="417" y="48"/>
                  </a:lnTo>
                  <a:lnTo>
                    <a:pt x="431" y="64"/>
                  </a:lnTo>
                  <a:lnTo>
                    <a:pt x="442" y="81"/>
                  </a:lnTo>
                  <a:lnTo>
                    <a:pt x="451" y="97"/>
                  </a:lnTo>
                  <a:lnTo>
                    <a:pt x="459" y="111"/>
                  </a:lnTo>
                  <a:lnTo>
                    <a:pt x="463" y="123"/>
                  </a:lnTo>
                  <a:lnTo>
                    <a:pt x="466" y="133"/>
                  </a:lnTo>
                  <a:lnTo>
                    <a:pt x="549" y="455"/>
                  </a:lnTo>
                  <a:lnTo>
                    <a:pt x="552" y="478"/>
                  </a:lnTo>
                  <a:lnTo>
                    <a:pt x="546" y="497"/>
                  </a:lnTo>
                  <a:lnTo>
                    <a:pt x="536" y="516"/>
                  </a:lnTo>
                  <a:lnTo>
                    <a:pt x="520" y="530"/>
                  </a:lnTo>
                  <a:lnTo>
                    <a:pt x="500" y="538"/>
                  </a:lnTo>
                  <a:lnTo>
                    <a:pt x="197" y="616"/>
                  </a:lnTo>
                  <a:lnTo>
                    <a:pt x="175" y="619"/>
                  </a:lnTo>
                  <a:lnTo>
                    <a:pt x="154" y="614"/>
                  </a:lnTo>
                  <a:lnTo>
                    <a:pt x="137" y="603"/>
                  </a:lnTo>
                  <a:lnTo>
                    <a:pt x="122" y="588"/>
                  </a:lnTo>
                  <a:lnTo>
                    <a:pt x="113" y="568"/>
                  </a:lnTo>
                  <a:lnTo>
                    <a:pt x="3" y="139"/>
                  </a:lnTo>
                  <a:lnTo>
                    <a:pt x="0" y="118"/>
                  </a:lnTo>
                  <a:lnTo>
                    <a:pt x="6" y="97"/>
                  </a:lnTo>
                  <a:lnTo>
                    <a:pt x="16" y="78"/>
                  </a:lnTo>
                  <a:lnTo>
                    <a:pt x="32" y="65"/>
                  </a:lnTo>
                  <a:lnTo>
                    <a:pt x="51" y="56"/>
                  </a:lnTo>
                  <a:lnTo>
                    <a:pt x="243" y="6"/>
                  </a:lnTo>
                  <a:lnTo>
                    <a:pt x="277" y="0"/>
                  </a:lnTo>
                  <a:lnTo>
                    <a:pt x="308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1" name="Freeform 3129">
              <a:extLst>
                <a:ext uri="{FF2B5EF4-FFF2-40B4-BE49-F238E27FC236}">
                  <a16:creationId xmlns:a16="http://schemas.microsoft.com/office/drawing/2014/main" id="{BA664482-7159-42AE-88C4-C094B3D04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5404" y="2686198"/>
              <a:ext cx="752280" cy="316624"/>
            </a:xfrm>
            <a:custGeom>
              <a:avLst/>
              <a:gdLst>
                <a:gd name="T0" fmla="*/ 2147483646 w 632"/>
                <a:gd name="T1" fmla="*/ 0 h 266"/>
                <a:gd name="T2" fmla="*/ 2147483646 w 632"/>
                <a:gd name="T3" fmla="*/ 2147483646 h 266"/>
                <a:gd name="T4" fmla="*/ 2147483646 w 632"/>
                <a:gd name="T5" fmla="*/ 2147483646 h 266"/>
                <a:gd name="T6" fmla="*/ 2147483646 w 632"/>
                <a:gd name="T7" fmla="*/ 2147483646 h 266"/>
                <a:gd name="T8" fmla="*/ 2147483646 w 632"/>
                <a:gd name="T9" fmla="*/ 2147483646 h 266"/>
                <a:gd name="T10" fmla="*/ 2147483646 w 632"/>
                <a:gd name="T11" fmla="*/ 2147483646 h 266"/>
                <a:gd name="T12" fmla="*/ 2147483646 w 632"/>
                <a:gd name="T13" fmla="*/ 2147483646 h 266"/>
                <a:gd name="T14" fmla="*/ 2147483646 w 632"/>
                <a:gd name="T15" fmla="*/ 2147483646 h 266"/>
                <a:gd name="T16" fmla="*/ 2147483646 w 632"/>
                <a:gd name="T17" fmla="*/ 2147483646 h 266"/>
                <a:gd name="T18" fmla="*/ 2147483646 w 632"/>
                <a:gd name="T19" fmla="*/ 2147483646 h 266"/>
                <a:gd name="T20" fmla="*/ 2147483646 w 632"/>
                <a:gd name="T21" fmla="*/ 2147483646 h 266"/>
                <a:gd name="T22" fmla="*/ 2147483646 w 632"/>
                <a:gd name="T23" fmla="*/ 2147483646 h 266"/>
                <a:gd name="T24" fmla="*/ 2147483646 w 632"/>
                <a:gd name="T25" fmla="*/ 2147483646 h 266"/>
                <a:gd name="T26" fmla="*/ 2147483646 w 632"/>
                <a:gd name="T27" fmla="*/ 2147483646 h 266"/>
                <a:gd name="T28" fmla="*/ 2147483646 w 632"/>
                <a:gd name="T29" fmla="*/ 2147483646 h 266"/>
                <a:gd name="T30" fmla="*/ 2147483646 w 632"/>
                <a:gd name="T31" fmla="*/ 2147483646 h 266"/>
                <a:gd name="T32" fmla="*/ 2147483646 w 632"/>
                <a:gd name="T33" fmla="*/ 2147483646 h 266"/>
                <a:gd name="T34" fmla="*/ 2147483646 w 632"/>
                <a:gd name="T35" fmla="*/ 2147483646 h 266"/>
                <a:gd name="T36" fmla="*/ 0 w 632"/>
                <a:gd name="T37" fmla="*/ 2147483646 h 266"/>
                <a:gd name="T38" fmla="*/ 2147483646 w 632"/>
                <a:gd name="T39" fmla="*/ 2147483646 h 266"/>
                <a:gd name="T40" fmla="*/ 2147483646 w 632"/>
                <a:gd name="T41" fmla="*/ 2147483646 h 266"/>
                <a:gd name="T42" fmla="*/ 2147483646 w 632"/>
                <a:gd name="T43" fmla="*/ 2147483646 h 266"/>
                <a:gd name="T44" fmla="*/ 2147483646 w 632"/>
                <a:gd name="T45" fmla="*/ 2147483646 h 266"/>
                <a:gd name="T46" fmla="*/ 2147483646 w 632"/>
                <a:gd name="T47" fmla="*/ 2147483646 h 266"/>
                <a:gd name="T48" fmla="*/ 2147483646 w 632"/>
                <a:gd name="T49" fmla="*/ 0 h 26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2"/>
                <a:gd name="T76" fmla="*/ 0 h 266"/>
                <a:gd name="T77" fmla="*/ 632 w 632"/>
                <a:gd name="T78" fmla="*/ 266 h 26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2" h="266">
                  <a:moveTo>
                    <a:pt x="572" y="0"/>
                  </a:moveTo>
                  <a:lnTo>
                    <a:pt x="590" y="4"/>
                  </a:lnTo>
                  <a:lnTo>
                    <a:pt x="606" y="13"/>
                  </a:lnTo>
                  <a:lnTo>
                    <a:pt x="618" y="27"/>
                  </a:lnTo>
                  <a:lnTo>
                    <a:pt x="626" y="44"/>
                  </a:lnTo>
                  <a:lnTo>
                    <a:pt x="629" y="62"/>
                  </a:lnTo>
                  <a:lnTo>
                    <a:pt x="632" y="80"/>
                  </a:lnTo>
                  <a:lnTo>
                    <a:pt x="628" y="99"/>
                  </a:lnTo>
                  <a:lnTo>
                    <a:pt x="619" y="113"/>
                  </a:lnTo>
                  <a:lnTo>
                    <a:pt x="605" y="126"/>
                  </a:lnTo>
                  <a:lnTo>
                    <a:pt x="588" y="134"/>
                  </a:lnTo>
                  <a:lnTo>
                    <a:pt x="78" y="265"/>
                  </a:lnTo>
                  <a:lnTo>
                    <a:pt x="59" y="266"/>
                  </a:lnTo>
                  <a:lnTo>
                    <a:pt x="42" y="262"/>
                  </a:lnTo>
                  <a:lnTo>
                    <a:pt x="26" y="253"/>
                  </a:lnTo>
                  <a:lnTo>
                    <a:pt x="13" y="240"/>
                  </a:lnTo>
                  <a:lnTo>
                    <a:pt x="6" y="223"/>
                  </a:lnTo>
                  <a:lnTo>
                    <a:pt x="1" y="205"/>
                  </a:lnTo>
                  <a:lnTo>
                    <a:pt x="0" y="186"/>
                  </a:lnTo>
                  <a:lnTo>
                    <a:pt x="4" y="168"/>
                  </a:lnTo>
                  <a:lnTo>
                    <a:pt x="13" y="154"/>
                  </a:lnTo>
                  <a:lnTo>
                    <a:pt x="26" y="140"/>
                  </a:lnTo>
                  <a:lnTo>
                    <a:pt x="44" y="133"/>
                  </a:lnTo>
                  <a:lnTo>
                    <a:pt x="554" y="2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" name="Freeform 3130">
              <a:extLst>
                <a:ext uri="{FF2B5EF4-FFF2-40B4-BE49-F238E27FC236}">
                  <a16:creationId xmlns:a16="http://schemas.microsoft.com/office/drawing/2014/main" id="{09C5584A-B00A-488F-95BD-EF51DAA3AC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1591" y="2859984"/>
              <a:ext cx="99987" cy="119032"/>
            </a:xfrm>
            <a:custGeom>
              <a:avLst/>
              <a:gdLst>
                <a:gd name="T0" fmla="*/ 2147483646 w 84"/>
                <a:gd name="T1" fmla="*/ 0 h 100"/>
                <a:gd name="T2" fmla="*/ 2147483646 w 84"/>
                <a:gd name="T3" fmla="*/ 2147483646 h 100"/>
                <a:gd name="T4" fmla="*/ 2147483646 w 84"/>
                <a:gd name="T5" fmla="*/ 2147483646 h 100"/>
                <a:gd name="T6" fmla="*/ 2147483646 w 84"/>
                <a:gd name="T7" fmla="*/ 2147483646 h 100"/>
                <a:gd name="T8" fmla="*/ 2147483646 w 84"/>
                <a:gd name="T9" fmla="*/ 2147483646 h 100"/>
                <a:gd name="T10" fmla="*/ 2147483646 w 84"/>
                <a:gd name="T11" fmla="*/ 2147483646 h 100"/>
                <a:gd name="T12" fmla="*/ 2147483646 w 84"/>
                <a:gd name="T13" fmla="*/ 2147483646 h 100"/>
                <a:gd name="T14" fmla="*/ 2147483646 w 84"/>
                <a:gd name="T15" fmla="*/ 2147483646 h 100"/>
                <a:gd name="T16" fmla="*/ 2147483646 w 84"/>
                <a:gd name="T17" fmla="*/ 2147483646 h 100"/>
                <a:gd name="T18" fmla="*/ 2147483646 w 84"/>
                <a:gd name="T19" fmla="*/ 2147483646 h 100"/>
                <a:gd name="T20" fmla="*/ 2147483646 w 84"/>
                <a:gd name="T21" fmla="*/ 2147483646 h 100"/>
                <a:gd name="T22" fmla="*/ 2147483646 w 84"/>
                <a:gd name="T23" fmla="*/ 2147483646 h 100"/>
                <a:gd name="T24" fmla="*/ 2147483646 w 84"/>
                <a:gd name="T25" fmla="*/ 2147483646 h 100"/>
                <a:gd name="T26" fmla="*/ 2147483646 w 84"/>
                <a:gd name="T27" fmla="*/ 2147483646 h 100"/>
                <a:gd name="T28" fmla="*/ 2147483646 w 84"/>
                <a:gd name="T29" fmla="*/ 2147483646 h 100"/>
                <a:gd name="T30" fmla="*/ 2147483646 w 84"/>
                <a:gd name="T31" fmla="*/ 2147483646 h 100"/>
                <a:gd name="T32" fmla="*/ 2147483646 w 84"/>
                <a:gd name="T33" fmla="*/ 2147483646 h 100"/>
                <a:gd name="T34" fmla="*/ 0 w 84"/>
                <a:gd name="T35" fmla="*/ 2147483646 h 100"/>
                <a:gd name="T36" fmla="*/ 2147483646 w 84"/>
                <a:gd name="T37" fmla="*/ 2147483646 h 100"/>
                <a:gd name="T38" fmla="*/ 2147483646 w 84"/>
                <a:gd name="T39" fmla="*/ 2147483646 h 100"/>
                <a:gd name="T40" fmla="*/ 2147483646 w 84"/>
                <a:gd name="T41" fmla="*/ 2147483646 h 100"/>
                <a:gd name="T42" fmla="*/ 2147483646 w 84"/>
                <a:gd name="T43" fmla="*/ 2147483646 h 100"/>
                <a:gd name="T44" fmla="*/ 2147483646 w 84"/>
                <a:gd name="T45" fmla="*/ 0 h 10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4"/>
                <a:gd name="T70" fmla="*/ 0 h 100"/>
                <a:gd name="T71" fmla="*/ 84 w 84"/>
                <a:gd name="T72" fmla="*/ 100 h 10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4" h="100">
                  <a:moveTo>
                    <a:pt x="50" y="0"/>
                  </a:moveTo>
                  <a:lnTo>
                    <a:pt x="59" y="2"/>
                  </a:lnTo>
                  <a:lnTo>
                    <a:pt x="67" y="9"/>
                  </a:lnTo>
                  <a:lnTo>
                    <a:pt x="72" y="18"/>
                  </a:lnTo>
                  <a:lnTo>
                    <a:pt x="76" y="30"/>
                  </a:lnTo>
                  <a:lnTo>
                    <a:pt x="79" y="43"/>
                  </a:lnTo>
                  <a:lnTo>
                    <a:pt x="83" y="56"/>
                  </a:lnTo>
                  <a:lnTo>
                    <a:pt x="84" y="68"/>
                  </a:lnTo>
                  <a:lnTo>
                    <a:pt x="84" y="78"/>
                  </a:lnTo>
                  <a:lnTo>
                    <a:pt x="81" y="87"/>
                  </a:lnTo>
                  <a:lnTo>
                    <a:pt x="75" y="94"/>
                  </a:lnTo>
                  <a:lnTo>
                    <a:pt x="64" y="99"/>
                  </a:lnTo>
                  <a:lnTo>
                    <a:pt x="47" y="100"/>
                  </a:lnTo>
                  <a:lnTo>
                    <a:pt x="33" y="97"/>
                  </a:lnTo>
                  <a:lnTo>
                    <a:pt x="18" y="89"/>
                  </a:lnTo>
                  <a:lnTo>
                    <a:pt x="8" y="77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1"/>
                  </a:lnTo>
                  <a:lnTo>
                    <a:pt x="12" y="18"/>
                  </a:lnTo>
                  <a:lnTo>
                    <a:pt x="24" y="8"/>
                  </a:lnTo>
                  <a:lnTo>
                    <a:pt x="38" y="1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" name="Freeform 3131">
              <a:extLst>
                <a:ext uri="{FF2B5EF4-FFF2-40B4-BE49-F238E27FC236}">
                  <a16:creationId xmlns:a16="http://schemas.microsoft.com/office/drawing/2014/main" id="{549383A4-199A-428A-8EAD-6641E77416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43750" y="2526695"/>
              <a:ext cx="751091" cy="317815"/>
            </a:xfrm>
            <a:custGeom>
              <a:avLst/>
              <a:gdLst>
                <a:gd name="T0" fmla="*/ 2147483646 w 631"/>
                <a:gd name="T1" fmla="*/ 0 h 267"/>
                <a:gd name="T2" fmla="*/ 2147483646 w 631"/>
                <a:gd name="T3" fmla="*/ 2147483646 h 267"/>
                <a:gd name="T4" fmla="*/ 2147483646 w 631"/>
                <a:gd name="T5" fmla="*/ 2147483646 h 267"/>
                <a:gd name="T6" fmla="*/ 2147483646 w 631"/>
                <a:gd name="T7" fmla="*/ 2147483646 h 267"/>
                <a:gd name="T8" fmla="*/ 2147483646 w 631"/>
                <a:gd name="T9" fmla="*/ 2147483646 h 267"/>
                <a:gd name="T10" fmla="*/ 2147483646 w 631"/>
                <a:gd name="T11" fmla="*/ 2147483646 h 267"/>
                <a:gd name="T12" fmla="*/ 2147483646 w 631"/>
                <a:gd name="T13" fmla="*/ 2147483646 h 267"/>
                <a:gd name="T14" fmla="*/ 2147483646 w 631"/>
                <a:gd name="T15" fmla="*/ 2147483646 h 267"/>
                <a:gd name="T16" fmla="*/ 2147483646 w 631"/>
                <a:gd name="T17" fmla="*/ 2147483646 h 267"/>
                <a:gd name="T18" fmla="*/ 2147483646 w 631"/>
                <a:gd name="T19" fmla="*/ 2147483646 h 267"/>
                <a:gd name="T20" fmla="*/ 2147483646 w 631"/>
                <a:gd name="T21" fmla="*/ 2147483646 h 267"/>
                <a:gd name="T22" fmla="*/ 2147483646 w 631"/>
                <a:gd name="T23" fmla="*/ 2147483646 h 267"/>
                <a:gd name="T24" fmla="*/ 2147483646 w 631"/>
                <a:gd name="T25" fmla="*/ 2147483646 h 267"/>
                <a:gd name="T26" fmla="*/ 2147483646 w 631"/>
                <a:gd name="T27" fmla="*/ 2147483646 h 267"/>
                <a:gd name="T28" fmla="*/ 2147483646 w 631"/>
                <a:gd name="T29" fmla="*/ 2147483646 h 267"/>
                <a:gd name="T30" fmla="*/ 2147483646 w 631"/>
                <a:gd name="T31" fmla="*/ 2147483646 h 267"/>
                <a:gd name="T32" fmla="*/ 2147483646 w 631"/>
                <a:gd name="T33" fmla="*/ 2147483646 h 267"/>
                <a:gd name="T34" fmla="*/ 2147483646 w 631"/>
                <a:gd name="T35" fmla="*/ 2147483646 h 267"/>
                <a:gd name="T36" fmla="*/ 0 w 631"/>
                <a:gd name="T37" fmla="*/ 2147483646 h 267"/>
                <a:gd name="T38" fmla="*/ 2147483646 w 631"/>
                <a:gd name="T39" fmla="*/ 2147483646 h 267"/>
                <a:gd name="T40" fmla="*/ 2147483646 w 631"/>
                <a:gd name="T41" fmla="*/ 2147483646 h 267"/>
                <a:gd name="T42" fmla="*/ 2147483646 w 631"/>
                <a:gd name="T43" fmla="*/ 2147483646 h 267"/>
                <a:gd name="T44" fmla="*/ 2147483646 w 631"/>
                <a:gd name="T45" fmla="*/ 2147483646 h 267"/>
                <a:gd name="T46" fmla="*/ 2147483646 w 631"/>
                <a:gd name="T47" fmla="*/ 2147483646 h 267"/>
                <a:gd name="T48" fmla="*/ 2147483646 w 631"/>
                <a:gd name="T49" fmla="*/ 0 h 2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1"/>
                <a:gd name="T76" fmla="*/ 0 h 267"/>
                <a:gd name="T77" fmla="*/ 631 w 631"/>
                <a:gd name="T78" fmla="*/ 267 h 2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1" h="267">
                  <a:moveTo>
                    <a:pt x="572" y="0"/>
                  </a:moveTo>
                  <a:lnTo>
                    <a:pt x="590" y="3"/>
                  </a:lnTo>
                  <a:lnTo>
                    <a:pt x="606" y="14"/>
                  </a:lnTo>
                  <a:lnTo>
                    <a:pt x="617" y="27"/>
                  </a:lnTo>
                  <a:lnTo>
                    <a:pt x="625" y="44"/>
                  </a:lnTo>
                  <a:lnTo>
                    <a:pt x="629" y="61"/>
                  </a:lnTo>
                  <a:lnTo>
                    <a:pt x="631" y="81"/>
                  </a:lnTo>
                  <a:lnTo>
                    <a:pt x="627" y="98"/>
                  </a:lnTo>
                  <a:lnTo>
                    <a:pt x="617" y="113"/>
                  </a:lnTo>
                  <a:lnTo>
                    <a:pt x="604" y="127"/>
                  </a:lnTo>
                  <a:lnTo>
                    <a:pt x="587" y="133"/>
                  </a:lnTo>
                  <a:lnTo>
                    <a:pt x="77" y="265"/>
                  </a:lnTo>
                  <a:lnTo>
                    <a:pt x="58" y="267"/>
                  </a:lnTo>
                  <a:lnTo>
                    <a:pt x="40" y="263"/>
                  </a:lnTo>
                  <a:lnTo>
                    <a:pt x="24" y="253"/>
                  </a:lnTo>
                  <a:lnTo>
                    <a:pt x="13" y="240"/>
                  </a:lnTo>
                  <a:lnTo>
                    <a:pt x="5" y="222"/>
                  </a:lnTo>
                  <a:lnTo>
                    <a:pt x="1" y="205"/>
                  </a:lnTo>
                  <a:lnTo>
                    <a:pt x="0" y="187"/>
                  </a:lnTo>
                  <a:lnTo>
                    <a:pt x="3" y="168"/>
                  </a:lnTo>
                  <a:lnTo>
                    <a:pt x="13" y="153"/>
                  </a:lnTo>
                  <a:lnTo>
                    <a:pt x="26" y="141"/>
                  </a:lnTo>
                  <a:lnTo>
                    <a:pt x="43" y="133"/>
                  </a:lnTo>
                  <a:lnTo>
                    <a:pt x="553" y="2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" name="Freeform 3132">
              <a:extLst>
                <a:ext uri="{FF2B5EF4-FFF2-40B4-BE49-F238E27FC236}">
                  <a16:creationId xmlns:a16="http://schemas.microsoft.com/office/drawing/2014/main" id="{84E5E437-6D80-447D-AD97-8F53F26C5D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9937" y="2700481"/>
              <a:ext cx="99987" cy="120222"/>
            </a:xfrm>
            <a:custGeom>
              <a:avLst/>
              <a:gdLst>
                <a:gd name="T0" fmla="*/ 2147483646 w 84"/>
                <a:gd name="T1" fmla="*/ 0 h 101"/>
                <a:gd name="T2" fmla="*/ 2147483646 w 84"/>
                <a:gd name="T3" fmla="*/ 2147483646 h 101"/>
                <a:gd name="T4" fmla="*/ 2147483646 w 84"/>
                <a:gd name="T5" fmla="*/ 2147483646 h 101"/>
                <a:gd name="T6" fmla="*/ 2147483646 w 84"/>
                <a:gd name="T7" fmla="*/ 2147483646 h 101"/>
                <a:gd name="T8" fmla="*/ 2147483646 w 84"/>
                <a:gd name="T9" fmla="*/ 2147483646 h 101"/>
                <a:gd name="T10" fmla="*/ 2147483646 w 84"/>
                <a:gd name="T11" fmla="*/ 2147483646 h 101"/>
                <a:gd name="T12" fmla="*/ 2147483646 w 84"/>
                <a:gd name="T13" fmla="*/ 2147483646 h 101"/>
                <a:gd name="T14" fmla="*/ 2147483646 w 84"/>
                <a:gd name="T15" fmla="*/ 2147483646 h 101"/>
                <a:gd name="T16" fmla="*/ 2147483646 w 84"/>
                <a:gd name="T17" fmla="*/ 2147483646 h 101"/>
                <a:gd name="T18" fmla="*/ 2147483646 w 84"/>
                <a:gd name="T19" fmla="*/ 2147483646 h 101"/>
                <a:gd name="T20" fmla="*/ 2147483646 w 84"/>
                <a:gd name="T21" fmla="*/ 2147483646 h 101"/>
                <a:gd name="T22" fmla="*/ 2147483646 w 84"/>
                <a:gd name="T23" fmla="*/ 2147483646 h 101"/>
                <a:gd name="T24" fmla="*/ 2147483646 w 84"/>
                <a:gd name="T25" fmla="*/ 2147483646 h 101"/>
                <a:gd name="T26" fmla="*/ 2147483646 w 84"/>
                <a:gd name="T27" fmla="*/ 2147483646 h 101"/>
                <a:gd name="T28" fmla="*/ 2147483646 w 84"/>
                <a:gd name="T29" fmla="*/ 2147483646 h 101"/>
                <a:gd name="T30" fmla="*/ 2147483646 w 84"/>
                <a:gd name="T31" fmla="*/ 2147483646 h 101"/>
                <a:gd name="T32" fmla="*/ 2147483646 w 84"/>
                <a:gd name="T33" fmla="*/ 2147483646 h 101"/>
                <a:gd name="T34" fmla="*/ 0 w 84"/>
                <a:gd name="T35" fmla="*/ 2147483646 h 101"/>
                <a:gd name="T36" fmla="*/ 2147483646 w 84"/>
                <a:gd name="T37" fmla="*/ 2147483646 h 101"/>
                <a:gd name="T38" fmla="*/ 2147483646 w 84"/>
                <a:gd name="T39" fmla="*/ 2147483646 h 101"/>
                <a:gd name="T40" fmla="*/ 2147483646 w 84"/>
                <a:gd name="T41" fmla="*/ 2147483646 h 101"/>
                <a:gd name="T42" fmla="*/ 2147483646 w 84"/>
                <a:gd name="T43" fmla="*/ 2147483646 h 101"/>
                <a:gd name="T44" fmla="*/ 2147483646 w 84"/>
                <a:gd name="T45" fmla="*/ 0 h 10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4"/>
                <a:gd name="T70" fmla="*/ 0 h 101"/>
                <a:gd name="T71" fmla="*/ 84 w 84"/>
                <a:gd name="T72" fmla="*/ 101 h 10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4" h="101">
                  <a:moveTo>
                    <a:pt x="50" y="0"/>
                  </a:moveTo>
                  <a:lnTo>
                    <a:pt x="59" y="3"/>
                  </a:lnTo>
                  <a:lnTo>
                    <a:pt x="65" y="9"/>
                  </a:lnTo>
                  <a:lnTo>
                    <a:pt x="71" y="18"/>
                  </a:lnTo>
                  <a:lnTo>
                    <a:pt x="74" y="30"/>
                  </a:lnTo>
                  <a:lnTo>
                    <a:pt x="78" y="43"/>
                  </a:lnTo>
                  <a:lnTo>
                    <a:pt x="82" y="56"/>
                  </a:lnTo>
                  <a:lnTo>
                    <a:pt x="84" y="68"/>
                  </a:lnTo>
                  <a:lnTo>
                    <a:pt x="84" y="79"/>
                  </a:lnTo>
                  <a:lnTo>
                    <a:pt x="81" y="88"/>
                  </a:lnTo>
                  <a:lnTo>
                    <a:pt x="74" y="94"/>
                  </a:lnTo>
                  <a:lnTo>
                    <a:pt x="63" y="100"/>
                  </a:lnTo>
                  <a:lnTo>
                    <a:pt x="47" y="101"/>
                  </a:lnTo>
                  <a:lnTo>
                    <a:pt x="31" y="97"/>
                  </a:lnTo>
                  <a:lnTo>
                    <a:pt x="18" y="89"/>
                  </a:lnTo>
                  <a:lnTo>
                    <a:pt x="8" y="77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2"/>
                  </a:lnTo>
                  <a:lnTo>
                    <a:pt x="12" y="18"/>
                  </a:lnTo>
                  <a:lnTo>
                    <a:pt x="23" y="8"/>
                  </a:lnTo>
                  <a:lnTo>
                    <a:pt x="38" y="1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" name="Freeform 3133">
              <a:extLst>
                <a:ext uri="{FF2B5EF4-FFF2-40B4-BE49-F238E27FC236}">
                  <a16:creationId xmlns:a16="http://schemas.microsoft.com/office/drawing/2014/main" id="{C8E414E3-ADCF-4DF3-BDE1-7411EADF3D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77079" y="2337435"/>
              <a:ext cx="753471" cy="317815"/>
            </a:xfrm>
            <a:custGeom>
              <a:avLst/>
              <a:gdLst>
                <a:gd name="T0" fmla="*/ 2147483646 w 633"/>
                <a:gd name="T1" fmla="*/ 0 h 267"/>
                <a:gd name="T2" fmla="*/ 2147483646 w 633"/>
                <a:gd name="T3" fmla="*/ 2147483646 h 267"/>
                <a:gd name="T4" fmla="*/ 2147483646 w 633"/>
                <a:gd name="T5" fmla="*/ 2147483646 h 267"/>
                <a:gd name="T6" fmla="*/ 2147483646 w 633"/>
                <a:gd name="T7" fmla="*/ 2147483646 h 267"/>
                <a:gd name="T8" fmla="*/ 2147483646 w 633"/>
                <a:gd name="T9" fmla="*/ 2147483646 h 267"/>
                <a:gd name="T10" fmla="*/ 2147483646 w 633"/>
                <a:gd name="T11" fmla="*/ 2147483646 h 267"/>
                <a:gd name="T12" fmla="*/ 2147483646 w 633"/>
                <a:gd name="T13" fmla="*/ 2147483646 h 267"/>
                <a:gd name="T14" fmla="*/ 2147483646 w 633"/>
                <a:gd name="T15" fmla="*/ 2147483646 h 267"/>
                <a:gd name="T16" fmla="*/ 2147483646 w 633"/>
                <a:gd name="T17" fmla="*/ 2147483646 h 267"/>
                <a:gd name="T18" fmla="*/ 2147483646 w 633"/>
                <a:gd name="T19" fmla="*/ 2147483646 h 267"/>
                <a:gd name="T20" fmla="*/ 2147483646 w 633"/>
                <a:gd name="T21" fmla="*/ 2147483646 h 267"/>
                <a:gd name="T22" fmla="*/ 2147483646 w 633"/>
                <a:gd name="T23" fmla="*/ 2147483646 h 267"/>
                <a:gd name="T24" fmla="*/ 2147483646 w 633"/>
                <a:gd name="T25" fmla="*/ 2147483646 h 267"/>
                <a:gd name="T26" fmla="*/ 2147483646 w 633"/>
                <a:gd name="T27" fmla="*/ 2147483646 h 267"/>
                <a:gd name="T28" fmla="*/ 2147483646 w 633"/>
                <a:gd name="T29" fmla="*/ 2147483646 h 267"/>
                <a:gd name="T30" fmla="*/ 2147483646 w 633"/>
                <a:gd name="T31" fmla="*/ 2147483646 h 267"/>
                <a:gd name="T32" fmla="*/ 2147483646 w 633"/>
                <a:gd name="T33" fmla="*/ 2147483646 h 267"/>
                <a:gd name="T34" fmla="*/ 2147483646 w 633"/>
                <a:gd name="T35" fmla="*/ 2147483646 h 267"/>
                <a:gd name="T36" fmla="*/ 0 w 633"/>
                <a:gd name="T37" fmla="*/ 2147483646 h 267"/>
                <a:gd name="T38" fmla="*/ 2147483646 w 633"/>
                <a:gd name="T39" fmla="*/ 2147483646 h 267"/>
                <a:gd name="T40" fmla="*/ 2147483646 w 633"/>
                <a:gd name="T41" fmla="*/ 2147483646 h 267"/>
                <a:gd name="T42" fmla="*/ 2147483646 w 633"/>
                <a:gd name="T43" fmla="*/ 2147483646 h 267"/>
                <a:gd name="T44" fmla="*/ 2147483646 w 633"/>
                <a:gd name="T45" fmla="*/ 2147483646 h 267"/>
                <a:gd name="T46" fmla="*/ 2147483646 w 633"/>
                <a:gd name="T47" fmla="*/ 2147483646 h 267"/>
                <a:gd name="T48" fmla="*/ 2147483646 w 633"/>
                <a:gd name="T49" fmla="*/ 0 h 2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3"/>
                <a:gd name="T76" fmla="*/ 0 h 267"/>
                <a:gd name="T77" fmla="*/ 633 w 633"/>
                <a:gd name="T78" fmla="*/ 267 h 2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3" h="267">
                  <a:moveTo>
                    <a:pt x="572" y="0"/>
                  </a:moveTo>
                  <a:lnTo>
                    <a:pt x="591" y="4"/>
                  </a:lnTo>
                  <a:lnTo>
                    <a:pt x="606" y="13"/>
                  </a:lnTo>
                  <a:lnTo>
                    <a:pt x="618" y="28"/>
                  </a:lnTo>
                  <a:lnTo>
                    <a:pt x="626" y="45"/>
                  </a:lnTo>
                  <a:lnTo>
                    <a:pt x="630" y="62"/>
                  </a:lnTo>
                  <a:lnTo>
                    <a:pt x="633" y="80"/>
                  </a:lnTo>
                  <a:lnTo>
                    <a:pt x="629" y="98"/>
                  </a:lnTo>
                  <a:lnTo>
                    <a:pt x="620" y="114"/>
                  </a:lnTo>
                  <a:lnTo>
                    <a:pt x="605" y="126"/>
                  </a:lnTo>
                  <a:lnTo>
                    <a:pt x="588" y="134"/>
                  </a:lnTo>
                  <a:lnTo>
                    <a:pt x="79" y="266"/>
                  </a:lnTo>
                  <a:lnTo>
                    <a:pt x="59" y="267"/>
                  </a:lnTo>
                  <a:lnTo>
                    <a:pt x="42" y="263"/>
                  </a:lnTo>
                  <a:lnTo>
                    <a:pt x="27" y="254"/>
                  </a:lnTo>
                  <a:lnTo>
                    <a:pt x="13" y="240"/>
                  </a:lnTo>
                  <a:lnTo>
                    <a:pt x="7" y="223"/>
                  </a:lnTo>
                  <a:lnTo>
                    <a:pt x="2" y="206"/>
                  </a:lnTo>
                  <a:lnTo>
                    <a:pt x="0" y="187"/>
                  </a:lnTo>
                  <a:lnTo>
                    <a:pt x="4" y="169"/>
                  </a:lnTo>
                  <a:lnTo>
                    <a:pt x="13" y="153"/>
                  </a:lnTo>
                  <a:lnTo>
                    <a:pt x="27" y="142"/>
                  </a:lnTo>
                  <a:lnTo>
                    <a:pt x="45" y="134"/>
                  </a:lnTo>
                  <a:lnTo>
                    <a:pt x="554" y="1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" name="Freeform 3134">
              <a:extLst>
                <a:ext uri="{FF2B5EF4-FFF2-40B4-BE49-F238E27FC236}">
                  <a16:creationId xmlns:a16="http://schemas.microsoft.com/office/drawing/2014/main" id="{02FA563C-D006-432A-8FC5-BE8CF5277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4456" y="2510031"/>
              <a:ext cx="98797" cy="122603"/>
            </a:xfrm>
            <a:custGeom>
              <a:avLst/>
              <a:gdLst>
                <a:gd name="T0" fmla="*/ 2147483646 w 83"/>
                <a:gd name="T1" fmla="*/ 0 h 103"/>
                <a:gd name="T2" fmla="*/ 2147483646 w 83"/>
                <a:gd name="T3" fmla="*/ 2147483646 h 103"/>
                <a:gd name="T4" fmla="*/ 2147483646 w 83"/>
                <a:gd name="T5" fmla="*/ 2147483646 h 103"/>
                <a:gd name="T6" fmla="*/ 2147483646 w 83"/>
                <a:gd name="T7" fmla="*/ 2147483646 h 103"/>
                <a:gd name="T8" fmla="*/ 2147483646 w 83"/>
                <a:gd name="T9" fmla="*/ 2147483646 h 103"/>
                <a:gd name="T10" fmla="*/ 2147483646 w 83"/>
                <a:gd name="T11" fmla="*/ 2147483646 h 103"/>
                <a:gd name="T12" fmla="*/ 2147483646 w 83"/>
                <a:gd name="T13" fmla="*/ 2147483646 h 103"/>
                <a:gd name="T14" fmla="*/ 2147483646 w 83"/>
                <a:gd name="T15" fmla="*/ 2147483646 h 103"/>
                <a:gd name="T16" fmla="*/ 2147483646 w 83"/>
                <a:gd name="T17" fmla="*/ 2147483646 h 103"/>
                <a:gd name="T18" fmla="*/ 2147483646 w 83"/>
                <a:gd name="T19" fmla="*/ 2147483646 h 103"/>
                <a:gd name="T20" fmla="*/ 2147483646 w 83"/>
                <a:gd name="T21" fmla="*/ 2147483646 h 103"/>
                <a:gd name="T22" fmla="*/ 2147483646 w 83"/>
                <a:gd name="T23" fmla="*/ 2147483646 h 103"/>
                <a:gd name="T24" fmla="*/ 2147483646 w 83"/>
                <a:gd name="T25" fmla="*/ 2147483646 h 103"/>
                <a:gd name="T26" fmla="*/ 2147483646 w 83"/>
                <a:gd name="T27" fmla="*/ 2147483646 h 103"/>
                <a:gd name="T28" fmla="*/ 2147483646 w 83"/>
                <a:gd name="T29" fmla="*/ 2147483646 h 103"/>
                <a:gd name="T30" fmla="*/ 2147483646 w 83"/>
                <a:gd name="T31" fmla="*/ 2147483646 h 103"/>
                <a:gd name="T32" fmla="*/ 2147483646 w 83"/>
                <a:gd name="T33" fmla="*/ 2147483646 h 103"/>
                <a:gd name="T34" fmla="*/ 0 w 83"/>
                <a:gd name="T35" fmla="*/ 2147483646 h 103"/>
                <a:gd name="T36" fmla="*/ 2147483646 w 83"/>
                <a:gd name="T37" fmla="*/ 2147483646 h 103"/>
                <a:gd name="T38" fmla="*/ 2147483646 w 83"/>
                <a:gd name="T39" fmla="*/ 2147483646 h 103"/>
                <a:gd name="T40" fmla="*/ 2147483646 w 83"/>
                <a:gd name="T41" fmla="*/ 2147483646 h 103"/>
                <a:gd name="T42" fmla="*/ 2147483646 w 83"/>
                <a:gd name="T43" fmla="*/ 2147483646 h 103"/>
                <a:gd name="T44" fmla="*/ 2147483646 w 83"/>
                <a:gd name="T45" fmla="*/ 0 h 10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3"/>
                <a:gd name="T70" fmla="*/ 0 h 103"/>
                <a:gd name="T71" fmla="*/ 83 w 83"/>
                <a:gd name="T72" fmla="*/ 103 h 103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3" h="103">
                  <a:moveTo>
                    <a:pt x="49" y="0"/>
                  </a:moveTo>
                  <a:lnTo>
                    <a:pt x="59" y="4"/>
                  </a:lnTo>
                  <a:lnTo>
                    <a:pt x="66" y="11"/>
                  </a:lnTo>
                  <a:lnTo>
                    <a:pt x="72" y="20"/>
                  </a:lnTo>
                  <a:lnTo>
                    <a:pt x="76" y="31"/>
                  </a:lnTo>
                  <a:lnTo>
                    <a:pt x="78" y="44"/>
                  </a:lnTo>
                  <a:lnTo>
                    <a:pt x="82" y="57"/>
                  </a:lnTo>
                  <a:lnTo>
                    <a:pt x="83" y="70"/>
                  </a:lnTo>
                  <a:lnTo>
                    <a:pt x="83" y="80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47" y="103"/>
                  </a:lnTo>
                  <a:lnTo>
                    <a:pt x="32" y="99"/>
                  </a:lnTo>
                  <a:lnTo>
                    <a:pt x="18" y="91"/>
                  </a:lnTo>
                  <a:lnTo>
                    <a:pt x="7" y="79"/>
                  </a:lnTo>
                  <a:lnTo>
                    <a:pt x="1" y="65"/>
                  </a:lnTo>
                  <a:lnTo>
                    <a:pt x="0" y="48"/>
                  </a:lnTo>
                  <a:lnTo>
                    <a:pt x="4" y="33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2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7" name="Freeform 3135">
              <a:extLst>
                <a:ext uri="{FF2B5EF4-FFF2-40B4-BE49-F238E27FC236}">
                  <a16:creationId xmlns:a16="http://schemas.microsoft.com/office/drawing/2014/main" id="{DB2885EA-719B-4AA1-884A-9E3C06283A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7785" y="2139842"/>
              <a:ext cx="753471" cy="317815"/>
            </a:xfrm>
            <a:custGeom>
              <a:avLst/>
              <a:gdLst>
                <a:gd name="T0" fmla="*/ 2147483646 w 633"/>
                <a:gd name="T1" fmla="*/ 0 h 267"/>
                <a:gd name="T2" fmla="*/ 2147483646 w 633"/>
                <a:gd name="T3" fmla="*/ 2147483646 h 267"/>
                <a:gd name="T4" fmla="*/ 2147483646 w 633"/>
                <a:gd name="T5" fmla="*/ 2147483646 h 267"/>
                <a:gd name="T6" fmla="*/ 2147483646 w 633"/>
                <a:gd name="T7" fmla="*/ 2147483646 h 267"/>
                <a:gd name="T8" fmla="*/ 2147483646 w 633"/>
                <a:gd name="T9" fmla="*/ 2147483646 h 267"/>
                <a:gd name="T10" fmla="*/ 2147483646 w 633"/>
                <a:gd name="T11" fmla="*/ 2147483646 h 267"/>
                <a:gd name="T12" fmla="*/ 2147483646 w 633"/>
                <a:gd name="T13" fmla="*/ 2147483646 h 267"/>
                <a:gd name="T14" fmla="*/ 2147483646 w 633"/>
                <a:gd name="T15" fmla="*/ 2147483646 h 267"/>
                <a:gd name="T16" fmla="*/ 2147483646 w 633"/>
                <a:gd name="T17" fmla="*/ 2147483646 h 267"/>
                <a:gd name="T18" fmla="*/ 2147483646 w 633"/>
                <a:gd name="T19" fmla="*/ 2147483646 h 267"/>
                <a:gd name="T20" fmla="*/ 2147483646 w 633"/>
                <a:gd name="T21" fmla="*/ 2147483646 h 267"/>
                <a:gd name="T22" fmla="*/ 2147483646 w 633"/>
                <a:gd name="T23" fmla="*/ 2147483646 h 267"/>
                <a:gd name="T24" fmla="*/ 2147483646 w 633"/>
                <a:gd name="T25" fmla="*/ 2147483646 h 267"/>
                <a:gd name="T26" fmla="*/ 2147483646 w 633"/>
                <a:gd name="T27" fmla="*/ 2147483646 h 267"/>
                <a:gd name="T28" fmla="*/ 2147483646 w 633"/>
                <a:gd name="T29" fmla="*/ 2147483646 h 267"/>
                <a:gd name="T30" fmla="*/ 2147483646 w 633"/>
                <a:gd name="T31" fmla="*/ 2147483646 h 267"/>
                <a:gd name="T32" fmla="*/ 2147483646 w 633"/>
                <a:gd name="T33" fmla="*/ 2147483646 h 267"/>
                <a:gd name="T34" fmla="*/ 2147483646 w 633"/>
                <a:gd name="T35" fmla="*/ 2147483646 h 267"/>
                <a:gd name="T36" fmla="*/ 0 w 633"/>
                <a:gd name="T37" fmla="*/ 2147483646 h 267"/>
                <a:gd name="T38" fmla="*/ 2147483646 w 633"/>
                <a:gd name="T39" fmla="*/ 2147483646 h 267"/>
                <a:gd name="T40" fmla="*/ 2147483646 w 633"/>
                <a:gd name="T41" fmla="*/ 2147483646 h 267"/>
                <a:gd name="T42" fmla="*/ 2147483646 w 633"/>
                <a:gd name="T43" fmla="*/ 2147483646 h 267"/>
                <a:gd name="T44" fmla="*/ 2147483646 w 633"/>
                <a:gd name="T45" fmla="*/ 2147483646 h 267"/>
                <a:gd name="T46" fmla="*/ 2147483646 w 633"/>
                <a:gd name="T47" fmla="*/ 2147483646 h 267"/>
                <a:gd name="T48" fmla="*/ 2147483646 w 633"/>
                <a:gd name="T49" fmla="*/ 0 h 2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33"/>
                <a:gd name="T76" fmla="*/ 0 h 267"/>
                <a:gd name="T77" fmla="*/ 633 w 633"/>
                <a:gd name="T78" fmla="*/ 267 h 2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33" h="267">
                  <a:moveTo>
                    <a:pt x="572" y="0"/>
                  </a:moveTo>
                  <a:lnTo>
                    <a:pt x="591" y="4"/>
                  </a:lnTo>
                  <a:lnTo>
                    <a:pt x="607" y="13"/>
                  </a:lnTo>
                  <a:lnTo>
                    <a:pt x="618" y="26"/>
                  </a:lnTo>
                  <a:lnTo>
                    <a:pt x="626" y="44"/>
                  </a:lnTo>
                  <a:lnTo>
                    <a:pt x="630" y="61"/>
                  </a:lnTo>
                  <a:lnTo>
                    <a:pt x="633" y="80"/>
                  </a:lnTo>
                  <a:lnTo>
                    <a:pt x="629" y="98"/>
                  </a:lnTo>
                  <a:lnTo>
                    <a:pt x="620" y="114"/>
                  </a:lnTo>
                  <a:lnTo>
                    <a:pt x="605" y="126"/>
                  </a:lnTo>
                  <a:lnTo>
                    <a:pt x="588" y="133"/>
                  </a:lnTo>
                  <a:lnTo>
                    <a:pt x="79" y="264"/>
                  </a:lnTo>
                  <a:lnTo>
                    <a:pt x="59" y="267"/>
                  </a:lnTo>
                  <a:lnTo>
                    <a:pt x="42" y="263"/>
                  </a:lnTo>
                  <a:lnTo>
                    <a:pt x="27" y="254"/>
                  </a:lnTo>
                  <a:lnTo>
                    <a:pt x="14" y="239"/>
                  </a:lnTo>
                  <a:lnTo>
                    <a:pt x="7" y="222"/>
                  </a:lnTo>
                  <a:lnTo>
                    <a:pt x="2" y="205"/>
                  </a:lnTo>
                  <a:lnTo>
                    <a:pt x="0" y="186"/>
                  </a:lnTo>
                  <a:lnTo>
                    <a:pt x="4" y="169"/>
                  </a:lnTo>
                  <a:lnTo>
                    <a:pt x="14" y="153"/>
                  </a:lnTo>
                  <a:lnTo>
                    <a:pt x="27" y="140"/>
                  </a:lnTo>
                  <a:lnTo>
                    <a:pt x="45" y="133"/>
                  </a:lnTo>
                  <a:lnTo>
                    <a:pt x="554" y="1"/>
                  </a:lnTo>
                  <a:lnTo>
                    <a:pt x="572" y="0"/>
                  </a:lnTo>
                  <a:close/>
                </a:path>
              </a:pathLst>
            </a:custGeom>
            <a:solidFill>
              <a:srgbClr val="F7D1B4"/>
            </a:solidFill>
            <a:ln w="0">
              <a:solidFill>
                <a:srgbClr val="F7D1B4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8" name="Freeform 3136">
              <a:extLst>
                <a:ext uri="{FF2B5EF4-FFF2-40B4-BE49-F238E27FC236}">
                  <a16:creationId xmlns:a16="http://schemas.microsoft.com/office/drawing/2014/main" id="{EE1963EE-FEA5-4188-9A7B-FC60E4A9C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5162" y="2312438"/>
              <a:ext cx="98797" cy="120222"/>
            </a:xfrm>
            <a:custGeom>
              <a:avLst/>
              <a:gdLst>
                <a:gd name="T0" fmla="*/ 2147483646 w 83"/>
                <a:gd name="T1" fmla="*/ 0 h 101"/>
                <a:gd name="T2" fmla="*/ 2147483646 w 83"/>
                <a:gd name="T3" fmla="*/ 2147483646 h 101"/>
                <a:gd name="T4" fmla="*/ 2147483646 w 83"/>
                <a:gd name="T5" fmla="*/ 2147483646 h 101"/>
                <a:gd name="T6" fmla="*/ 2147483646 w 83"/>
                <a:gd name="T7" fmla="*/ 2147483646 h 101"/>
                <a:gd name="T8" fmla="*/ 2147483646 w 83"/>
                <a:gd name="T9" fmla="*/ 2147483646 h 101"/>
                <a:gd name="T10" fmla="*/ 2147483646 w 83"/>
                <a:gd name="T11" fmla="*/ 2147483646 h 101"/>
                <a:gd name="T12" fmla="*/ 2147483646 w 83"/>
                <a:gd name="T13" fmla="*/ 2147483646 h 101"/>
                <a:gd name="T14" fmla="*/ 2147483646 w 83"/>
                <a:gd name="T15" fmla="*/ 2147483646 h 101"/>
                <a:gd name="T16" fmla="*/ 2147483646 w 83"/>
                <a:gd name="T17" fmla="*/ 2147483646 h 101"/>
                <a:gd name="T18" fmla="*/ 2147483646 w 83"/>
                <a:gd name="T19" fmla="*/ 2147483646 h 101"/>
                <a:gd name="T20" fmla="*/ 2147483646 w 83"/>
                <a:gd name="T21" fmla="*/ 2147483646 h 101"/>
                <a:gd name="T22" fmla="*/ 2147483646 w 83"/>
                <a:gd name="T23" fmla="*/ 2147483646 h 101"/>
                <a:gd name="T24" fmla="*/ 2147483646 w 83"/>
                <a:gd name="T25" fmla="*/ 2147483646 h 101"/>
                <a:gd name="T26" fmla="*/ 2147483646 w 83"/>
                <a:gd name="T27" fmla="*/ 2147483646 h 101"/>
                <a:gd name="T28" fmla="*/ 2147483646 w 83"/>
                <a:gd name="T29" fmla="*/ 2147483646 h 101"/>
                <a:gd name="T30" fmla="*/ 2147483646 w 83"/>
                <a:gd name="T31" fmla="*/ 2147483646 h 101"/>
                <a:gd name="T32" fmla="*/ 2147483646 w 83"/>
                <a:gd name="T33" fmla="*/ 2147483646 h 101"/>
                <a:gd name="T34" fmla="*/ 0 w 83"/>
                <a:gd name="T35" fmla="*/ 2147483646 h 101"/>
                <a:gd name="T36" fmla="*/ 2147483646 w 83"/>
                <a:gd name="T37" fmla="*/ 2147483646 h 101"/>
                <a:gd name="T38" fmla="*/ 2147483646 w 83"/>
                <a:gd name="T39" fmla="*/ 2147483646 h 101"/>
                <a:gd name="T40" fmla="*/ 2147483646 w 83"/>
                <a:gd name="T41" fmla="*/ 2147483646 h 101"/>
                <a:gd name="T42" fmla="*/ 2147483646 w 83"/>
                <a:gd name="T43" fmla="*/ 2147483646 h 101"/>
                <a:gd name="T44" fmla="*/ 2147483646 w 83"/>
                <a:gd name="T45" fmla="*/ 0 h 10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3"/>
                <a:gd name="T70" fmla="*/ 0 h 101"/>
                <a:gd name="T71" fmla="*/ 83 w 83"/>
                <a:gd name="T72" fmla="*/ 101 h 10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3" h="101">
                  <a:moveTo>
                    <a:pt x="49" y="0"/>
                  </a:moveTo>
                  <a:lnTo>
                    <a:pt x="59" y="3"/>
                  </a:lnTo>
                  <a:lnTo>
                    <a:pt x="66" y="9"/>
                  </a:lnTo>
                  <a:lnTo>
                    <a:pt x="72" y="19"/>
                  </a:lnTo>
                  <a:lnTo>
                    <a:pt x="76" y="30"/>
                  </a:lnTo>
                  <a:lnTo>
                    <a:pt x="78" y="43"/>
                  </a:lnTo>
                  <a:lnTo>
                    <a:pt x="82" y="56"/>
                  </a:lnTo>
                  <a:lnTo>
                    <a:pt x="83" y="68"/>
                  </a:lnTo>
                  <a:lnTo>
                    <a:pt x="83" y="79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47" y="101"/>
                  </a:lnTo>
                  <a:lnTo>
                    <a:pt x="32" y="98"/>
                  </a:lnTo>
                  <a:lnTo>
                    <a:pt x="18" y="91"/>
                  </a:lnTo>
                  <a:lnTo>
                    <a:pt x="8" y="79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2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FFECDE"/>
            </a:solidFill>
            <a:ln w="0">
              <a:solidFill>
                <a:srgbClr val="FFECDE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9" name="Freeform 3137">
              <a:extLst>
                <a:ext uri="{FF2B5EF4-FFF2-40B4-BE49-F238E27FC236}">
                  <a16:creationId xmlns:a16="http://schemas.microsoft.com/office/drawing/2014/main" id="{92D476E7-8536-4B6E-8764-C35B20986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0025" y="1881543"/>
              <a:ext cx="796323" cy="792751"/>
            </a:xfrm>
            <a:custGeom>
              <a:avLst/>
              <a:gdLst>
                <a:gd name="T0" fmla="*/ 2147483646 w 669"/>
                <a:gd name="T1" fmla="*/ 0 h 666"/>
                <a:gd name="T2" fmla="*/ 2147483646 w 669"/>
                <a:gd name="T3" fmla="*/ 2147483646 h 666"/>
                <a:gd name="T4" fmla="*/ 2147483646 w 669"/>
                <a:gd name="T5" fmla="*/ 2147483646 h 666"/>
                <a:gd name="T6" fmla="*/ 2147483646 w 669"/>
                <a:gd name="T7" fmla="*/ 2147483646 h 666"/>
                <a:gd name="T8" fmla="*/ 2147483646 w 669"/>
                <a:gd name="T9" fmla="*/ 2147483646 h 666"/>
                <a:gd name="T10" fmla="*/ 2147483646 w 669"/>
                <a:gd name="T11" fmla="*/ 2147483646 h 666"/>
                <a:gd name="T12" fmla="*/ 0 w 669"/>
                <a:gd name="T13" fmla="*/ 2147483646 h 666"/>
                <a:gd name="T14" fmla="*/ 2147483646 w 669"/>
                <a:gd name="T15" fmla="*/ 0 h 66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69"/>
                <a:gd name="T25" fmla="*/ 0 h 666"/>
                <a:gd name="T26" fmla="*/ 669 w 669"/>
                <a:gd name="T27" fmla="*/ 666 h 66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69" h="666">
                  <a:moveTo>
                    <a:pt x="669" y="0"/>
                  </a:moveTo>
                  <a:lnTo>
                    <a:pt x="669" y="526"/>
                  </a:lnTo>
                  <a:lnTo>
                    <a:pt x="127" y="666"/>
                  </a:lnTo>
                  <a:lnTo>
                    <a:pt x="41" y="328"/>
                  </a:lnTo>
                  <a:lnTo>
                    <a:pt x="162" y="274"/>
                  </a:lnTo>
                  <a:lnTo>
                    <a:pt x="28" y="280"/>
                  </a:lnTo>
                  <a:lnTo>
                    <a:pt x="0" y="172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rgbClr val="C49E72"/>
            </a:solidFill>
            <a:ln w="0">
              <a:solidFill>
                <a:srgbClr val="C49E72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0" name="Freeform 3138">
              <a:extLst>
                <a:ext uri="{FF2B5EF4-FFF2-40B4-BE49-F238E27FC236}">
                  <a16:creationId xmlns:a16="http://schemas.microsoft.com/office/drawing/2014/main" id="{25614AAA-805E-4E8C-8E08-6B57F2572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0254" y="2095800"/>
              <a:ext cx="80942" cy="80942"/>
            </a:xfrm>
            <a:custGeom>
              <a:avLst/>
              <a:gdLst>
                <a:gd name="T0" fmla="*/ 2147483646 w 68"/>
                <a:gd name="T1" fmla="*/ 0 h 68"/>
                <a:gd name="T2" fmla="*/ 2147483646 w 68"/>
                <a:gd name="T3" fmla="*/ 2147483646 h 68"/>
                <a:gd name="T4" fmla="*/ 2147483646 w 68"/>
                <a:gd name="T5" fmla="*/ 2147483646 h 68"/>
                <a:gd name="T6" fmla="*/ 2147483646 w 68"/>
                <a:gd name="T7" fmla="*/ 2147483646 h 68"/>
                <a:gd name="T8" fmla="*/ 2147483646 w 68"/>
                <a:gd name="T9" fmla="*/ 2147483646 h 68"/>
                <a:gd name="T10" fmla="*/ 2147483646 w 68"/>
                <a:gd name="T11" fmla="*/ 2147483646 h 68"/>
                <a:gd name="T12" fmla="*/ 2147483646 w 68"/>
                <a:gd name="T13" fmla="*/ 2147483646 h 68"/>
                <a:gd name="T14" fmla="*/ 2147483646 w 68"/>
                <a:gd name="T15" fmla="*/ 2147483646 h 68"/>
                <a:gd name="T16" fmla="*/ 2147483646 w 68"/>
                <a:gd name="T17" fmla="*/ 2147483646 h 68"/>
                <a:gd name="T18" fmla="*/ 2147483646 w 68"/>
                <a:gd name="T19" fmla="*/ 2147483646 h 68"/>
                <a:gd name="T20" fmla="*/ 2147483646 w 68"/>
                <a:gd name="T21" fmla="*/ 2147483646 h 68"/>
                <a:gd name="T22" fmla="*/ 0 w 68"/>
                <a:gd name="T23" fmla="*/ 2147483646 h 68"/>
                <a:gd name="T24" fmla="*/ 0 w 68"/>
                <a:gd name="T25" fmla="*/ 2147483646 h 68"/>
                <a:gd name="T26" fmla="*/ 2147483646 w 68"/>
                <a:gd name="T27" fmla="*/ 2147483646 h 68"/>
                <a:gd name="T28" fmla="*/ 2147483646 w 68"/>
                <a:gd name="T29" fmla="*/ 2147483646 h 68"/>
                <a:gd name="T30" fmla="*/ 2147483646 w 68"/>
                <a:gd name="T31" fmla="*/ 0 h 68"/>
                <a:gd name="T32" fmla="*/ 2147483646 w 68"/>
                <a:gd name="T33" fmla="*/ 0 h 6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8"/>
                <a:gd name="T52" fmla="*/ 0 h 68"/>
                <a:gd name="T53" fmla="*/ 68 w 68"/>
                <a:gd name="T54" fmla="*/ 68 h 6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8" h="68">
                  <a:moveTo>
                    <a:pt x="38" y="0"/>
                  </a:moveTo>
                  <a:lnTo>
                    <a:pt x="51" y="4"/>
                  </a:lnTo>
                  <a:lnTo>
                    <a:pt x="61" y="13"/>
                  </a:lnTo>
                  <a:lnTo>
                    <a:pt x="67" y="25"/>
                  </a:lnTo>
                  <a:lnTo>
                    <a:pt x="68" y="39"/>
                  </a:lnTo>
                  <a:lnTo>
                    <a:pt x="63" y="51"/>
                  </a:lnTo>
                  <a:lnTo>
                    <a:pt x="55" y="62"/>
                  </a:lnTo>
                  <a:lnTo>
                    <a:pt x="42" y="67"/>
                  </a:lnTo>
                  <a:lnTo>
                    <a:pt x="29" y="68"/>
                  </a:lnTo>
                  <a:lnTo>
                    <a:pt x="16" y="64"/>
                  </a:lnTo>
                  <a:lnTo>
                    <a:pt x="7" y="55"/>
                  </a:lnTo>
                  <a:lnTo>
                    <a:pt x="0" y="43"/>
                  </a:lnTo>
                  <a:lnTo>
                    <a:pt x="0" y="29"/>
                  </a:lnTo>
                  <a:lnTo>
                    <a:pt x="4" y="17"/>
                  </a:lnTo>
                  <a:lnTo>
                    <a:pt x="13" y="7"/>
                  </a:lnTo>
                  <a:lnTo>
                    <a:pt x="25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4D4D4D"/>
            </a:solidFill>
            <a:ln w="0">
              <a:solidFill>
                <a:srgbClr val="4D4D4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1" name="Freeform 3139">
              <a:extLst>
                <a:ext uri="{FF2B5EF4-FFF2-40B4-BE49-F238E27FC236}">
                  <a16:creationId xmlns:a16="http://schemas.microsoft.com/office/drawing/2014/main" id="{2ACA92E4-372B-44E4-B10B-308D9071D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4538" y="2110084"/>
              <a:ext cx="51184" cy="53565"/>
            </a:xfrm>
            <a:custGeom>
              <a:avLst/>
              <a:gdLst>
                <a:gd name="T0" fmla="*/ 2147483646 w 43"/>
                <a:gd name="T1" fmla="*/ 0 h 45"/>
                <a:gd name="T2" fmla="*/ 2147483646 w 43"/>
                <a:gd name="T3" fmla="*/ 0 h 45"/>
                <a:gd name="T4" fmla="*/ 2147483646 w 43"/>
                <a:gd name="T5" fmla="*/ 2147483646 h 45"/>
                <a:gd name="T6" fmla="*/ 2147483646 w 43"/>
                <a:gd name="T7" fmla="*/ 2147483646 h 45"/>
                <a:gd name="T8" fmla="*/ 2147483646 w 43"/>
                <a:gd name="T9" fmla="*/ 2147483646 h 45"/>
                <a:gd name="T10" fmla="*/ 2147483646 w 43"/>
                <a:gd name="T11" fmla="*/ 2147483646 h 45"/>
                <a:gd name="T12" fmla="*/ 2147483646 w 43"/>
                <a:gd name="T13" fmla="*/ 2147483646 h 45"/>
                <a:gd name="T14" fmla="*/ 2147483646 w 43"/>
                <a:gd name="T15" fmla="*/ 2147483646 h 45"/>
                <a:gd name="T16" fmla="*/ 2147483646 w 43"/>
                <a:gd name="T17" fmla="*/ 2147483646 h 45"/>
                <a:gd name="T18" fmla="*/ 0 w 43"/>
                <a:gd name="T19" fmla="*/ 2147483646 h 45"/>
                <a:gd name="T20" fmla="*/ 0 w 43"/>
                <a:gd name="T21" fmla="*/ 2147483646 h 45"/>
                <a:gd name="T22" fmla="*/ 2147483646 w 43"/>
                <a:gd name="T23" fmla="*/ 2147483646 h 45"/>
                <a:gd name="T24" fmla="*/ 2147483646 w 43"/>
                <a:gd name="T25" fmla="*/ 0 h 4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3"/>
                <a:gd name="T40" fmla="*/ 0 h 45"/>
                <a:gd name="T41" fmla="*/ 43 w 43"/>
                <a:gd name="T42" fmla="*/ 45 h 4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3" h="45">
                  <a:moveTo>
                    <a:pt x="15" y="0"/>
                  </a:moveTo>
                  <a:lnTo>
                    <a:pt x="27" y="0"/>
                  </a:lnTo>
                  <a:lnTo>
                    <a:pt x="38" y="7"/>
                  </a:lnTo>
                  <a:lnTo>
                    <a:pt x="43" y="17"/>
                  </a:lnTo>
                  <a:lnTo>
                    <a:pt x="43" y="29"/>
                  </a:lnTo>
                  <a:lnTo>
                    <a:pt x="38" y="38"/>
                  </a:lnTo>
                  <a:lnTo>
                    <a:pt x="27" y="45"/>
                  </a:lnTo>
                  <a:lnTo>
                    <a:pt x="15" y="43"/>
                  </a:lnTo>
                  <a:lnTo>
                    <a:pt x="5" y="38"/>
                  </a:lnTo>
                  <a:lnTo>
                    <a:pt x="0" y="27"/>
                  </a:lnTo>
                  <a:lnTo>
                    <a:pt x="0" y="16"/>
                  </a:lnTo>
                  <a:lnTo>
                    <a:pt x="6" y="7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333333"/>
            </a:solidFill>
            <a:ln w="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2" name="Freeform 3140">
              <a:extLst>
                <a:ext uri="{FF2B5EF4-FFF2-40B4-BE49-F238E27FC236}">
                  <a16:creationId xmlns:a16="http://schemas.microsoft.com/office/drawing/2014/main" id="{340EB079-67B4-41CC-8EDD-D63167FAE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0281" y="2138652"/>
              <a:ext cx="144029" cy="36900"/>
            </a:xfrm>
            <a:custGeom>
              <a:avLst/>
              <a:gdLst>
                <a:gd name="T0" fmla="*/ 2147483646 w 121"/>
                <a:gd name="T1" fmla="*/ 0 h 31"/>
                <a:gd name="T2" fmla="*/ 2147483646 w 121"/>
                <a:gd name="T3" fmla="*/ 0 h 31"/>
                <a:gd name="T4" fmla="*/ 0 w 121"/>
                <a:gd name="T5" fmla="*/ 2147483646 h 31"/>
                <a:gd name="T6" fmla="*/ 2147483646 w 121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1"/>
                <a:gd name="T13" fmla="*/ 0 h 31"/>
                <a:gd name="T14" fmla="*/ 121 w 121"/>
                <a:gd name="T15" fmla="*/ 31 h 3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1" h="31">
                  <a:moveTo>
                    <a:pt x="121" y="0"/>
                  </a:moveTo>
                  <a:lnTo>
                    <a:pt x="121" y="0"/>
                  </a:lnTo>
                  <a:lnTo>
                    <a:pt x="0" y="31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F5F5F5"/>
            </a:solidFill>
            <a:ln w="0">
              <a:solidFill>
                <a:srgbClr val="F5F5F5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3" name="Freeform 3141">
              <a:extLst>
                <a:ext uri="{FF2B5EF4-FFF2-40B4-BE49-F238E27FC236}">
                  <a16:creationId xmlns:a16="http://schemas.microsoft.com/office/drawing/2014/main" id="{6B531F11-6987-4551-8F99-7290294F8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30643" y="2370764"/>
              <a:ext cx="463034" cy="126174"/>
            </a:xfrm>
            <a:custGeom>
              <a:avLst/>
              <a:gdLst>
                <a:gd name="T0" fmla="*/ 2147483646 w 389"/>
                <a:gd name="T1" fmla="*/ 0 h 106"/>
                <a:gd name="T2" fmla="*/ 2147483646 w 389"/>
                <a:gd name="T3" fmla="*/ 2147483646 h 106"/>
                <a:gd name="T4" fmla="*/ 0 w 389"/>
                <a:gd name="T5" fmla="*/ 2147483646 h 106"/>
                <a:gd name="T6" fmla="*/ 2147483646 w 389"/>
                <a:gd name="T7" fmla="*/ 2147483646 h 106"/>
                <a:gd name="T8" fmla="*/ 2147483646 w 389"/>
                <a:gd name="T9" fmla="*/ 0 h 1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89"/>
                <a:gd name="T16" fmla="*/ 0 h 106"/>
                <a:gd name="T17" fmla="*/ 389 w 389"/>
                <a:gd name="T18" fmla="*/ 106 h 10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89" h="106">
                  <a:moveTo>
                    <a:pt x="387" y="0"/>
                  </a:moveTo>
                  <a:lnTo>
                    <a:pt x="389" y="5"/>
                  </a:lnTo>
                  <a:lnTo>
                    <a:pt x="0" y="106"/>
                  </a:lnTo>
                  <a:lnTo>
                    <a:pt x="389" y="5"/>
                  </a:lnTo>
                  <a:lnTo>
                    <a:pt x="387" y="0"/>
                  </a:lnTo>
                  <a:close/>
                </a:path>
              </a:pathLst>
            </a:custGeom>
            <a:solidFill>
              <a:srgbClr val="DA994F"/>
            </a:solidFill>
            <a:ln w="0">
              <a:solidFill>
                <a:srgbClr val="DA994F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4" name="Freeform 3142">
              <a:extLst>
                <a:ext uri="{FF2B5EF4-FFF2-40B4-BE49-F238E27FC236}">
                  <a16:creationId xmlns:a16="http://schemas.microsoft.com/office/drawing/2014/main" id="{CE1DD16B-4D54-4FFD-B382-D4F3810DCB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60281" y="2138652"/>
              <a:ext cx="322576" cy="254728"/>
            </a:xfrm>
            <a:custGeom>
              <a:avLst/>
              <a:gdLst>
                <a:gd name="T0" fmla="*/ 2147483646 w 271"/>
                <a:gd name="T1" fmla="*/ 0 h 214"/>
                <a:gd name="T2" fmla="*/ 2147483646 w 271"/>
                <a:gd name="T3" fmla="*/ 2147483646 h 214"/>
                <a:gd name="T4" fmla="*/ 2147483646 w 271"/>
                <a:gd name="T5" fmla="*/ 2147483646 h 214"/>
                <a:gd name="T6" fmla="*/ 2147483646 w 271"/>
                <a:gd name="T7" fmla="*/ 2147483646 h 214"/>
                <a:gd name="T8" fmla="*/ 2147483646 w 271"/>
                <a:gd name="T9" fmla="*/ 2147483646 h 214"/>
                <a:gd name="T10" fmla="*/ 2147483646 w 271"/>
                <a:gd name="T11" fmla="*/ 2147483646 h 214"/>
                <a:gd name="T12" fmla="*/ 2147483646 w 271"/>
                <a:gd name="T13" fmla="*/ 2147483646 h 214"/>
                <a:gd name="T14" fmla="*/ 2147483646 w 271"/>
                <a:gd name="T15" fmla="*/ 2147483646 h 214"/>
                <a:gd name="T16" fmla="*/ 2147483646 w 271"/>
                <a:gd name="T17" fmla="*/ 2147483646 h 214"/>
                <a:gd name="T18" fmla="*/ 2147483646 w 271"/>
                <a:gd name="T19" fmla="*/ 2147483646 h 214"/>
                <a:gd name="T20" fmla="*/ 2147483646 w 271"/>
                <a:gd name="T21" fmla="*/ 2147483646 h 214"/>
                <a:gd name="T22" fmla="*/ 0 w 271"/>
                <a:gd name="T23" fmla="*/ 2147483646 h 214"/>
                <a:gd name="T24" fmla="*/ 2147483646 w 271"/>
                <a:gd name="T25" fmla="*/ 0 h 2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71"/>
                <a:gd name="T40" fmla="*/ 0 h 214"/>
                <a:gd name="T41" fmla="*/ 271 w 271"/>
                <a:gd name="T42" fmla="*/ 214 h 2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71" h="214">
                  <a:moveTo>
                    <a:pt x="121" y="0"/>
                  </a:moveTo>
                  <a:lnTo>
                    <a:pt x="137" y="64"/>
                  </a:lnTo>
                  <a:lnTo>
                    <a:pt x="271" y="58"/>
                  </a:lnTo>
                  <a:lnTo>
                    <a:pt x="150" y="112"/>
                  </a:lnTo>
                  <a:lnTo>
                    <a:pt x="169" y="191"/>
                  </a:lnTo>
                  <a:lnTo>
                    <a:pt x="76" y="214"/>
                  </a:lnTo>
                  <a:lnTo>
                    <a:pt x="51" y="117"/>
                  </a:lnTo>
                  <a:lnTo>
                    <a:pt x="48" y="104"/>
                  </a:lnTo>
                  <a:lnTo>
                    <a:pt x="41" y="89"/>
                  </a:lnTo>
                  <a:lnTo>
                    <a:pt x="31" y="70"/>
                  </a:lnTo>
                  <a:lnTo>
                    <a:pt x="17" y="51"/>
                  </a:lnTo>
                  <a:lnTo>
                    <a:pt x="0" y="31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E2B999"/>
            </a:solidFill>
            <a:ln w="0">
              <a:solidFill>
                <a:srgbClr val="E2B999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5" name="Freeform 3143">
              <a:extLst>
                <a:ext uri="{FF2B5EF4-FFF2-40B4-BE49-F238E27FC236}">
                  <a16:creationId xmlns:a16="http://schemas.microsoft.com/office/drawing/2014/main" id="{6ACB8581-756F-4117-B5DB-01D5E1E670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90106" y="2118417"/>
              <a:ext cx="560640" cy="365428"/>
            </a:xfrm>
            <a:custGeom>
              <a:avLst/>
              <a:gdLst>
                <a:gd name="T0" fmla="*/ 2147483646 w 471"/>
                <a:gd name="T1" fmla="*/ 0 h 307"/>
                <a:gd name="T2" fmla="*/ 2147483646 w 471"/>
                <a:gd name="T3" fmla="*/ 2147483646 h 307"/>
                <a:gd name="T4" fmla="*/ 2147483646 w 471"/>
                <a:gd name="T5" fmla="*/ 2147483646 h 307"/>
                <a:gd name="T6" fmla="*/ 2147483646 w 471"/>
                <a:gd name="T7" fmla="*/ 2147483646 h 307"/>
                <a:gd name="T8" fmla="*/ 2147483646 w 471"/>
                <a:gd name="T9" fmla="*/ 2147483646 h 307"/>
                <a:gd name="T10" fmla="*/ 2147483646 w 471"/>
                <a:gd name="T11" fmla="*/ 2147483646 h 307"/>
                <a:gd name="T12" fmla="*/ 2147483646 w 471"/>
                <a:gd name="T13" fmla="*/ 2147483646 h 307"/>
                <a:gd name="T14" fmla="*/ 2147483646 w 471"/>
                <a:gd name="T15" fmla="*/ 2147483646 h 307"/>
                <a:gd name="T16" fmla="*/ 2147483646 w 471"/>
                <a:gd name="T17" fmla="*/ 2147483646 h 307"/>
                <a:gd name="T18" fmla="*/ 2147483646 w 471"/>
                <a:gd name="T19" fmla="*/ 2147483646 h 307"/>
                <a:gd name="T20" fmla="*/ 2147483646 w 471"/>
                <a:gd name="T21" fmla="*/ 2147483646 h 307"/>
                <a:gd name="T22" fmla="*/ 2147483646 w 471"/>
                <a:gd name="T23" fmla="*/ 2147483646 h 307"/>
                <a:gd name="T24" fmla="*/ 2147483646 w 471"/>
                <a:gd name="T25" fmla="*/ 2147483646 h 307"/>
                <a:gd name="T26" fmla="*/ 2147483646 w 471"/>
                <a:gd name="T27" fmla="*/ 2147483646 h 307"/>
                <a:gd name="T28" fmla="*/ 2147483646 w 471"/>
                <a:gd name="T29" fmla="*/ 2147483646 h 307"/>
                <a:gd name="T30" fmla="*/ 2147483646 w 471"/>
                <a:gd name="T31" fmla="*/ 2147483646 h 307"/>
                <a:gd name="T32" fmla="*/ 2147483646 w 471"/>
                <a:gd name="T33" fmla="*/ 2147483646 h 307"/>
                <a:gd name="T34" fmla="*/ 2147483646 w 471"/>
                <a:gd name="T35" fmla="*/ 2147483646 h 307"/>
                <a:gd name="T36" fmla="*/ 2147483646 w 471"/>
                <a:gd name="T37" fmla="*/ 2147483646 h 307"/>
                <a:gd name="T38" fmla="*/ 2147483646 w 471"/>
                <a:gd name="T39" fmla="*/ 2147483646 h 307"/>
                <a:gd name="T40" fmla="*/ 2147483646 w 471"/>
                <a:gd name="T41" fmla="*/ 2147483646 h 307"/>
                <a:gd name="T42" fmla="*/ 2147483646 w 471"/>
                <a:gd name="T43" fmla="*/ 2147483646 h 307"/>
                <a:gd name="T44" fmla="*/ 2147483646 w 471"/>
                <a:gd name="T45" fmla="*/ 2147483646 h 307"/>
                <a:gd name="T46" fmla="*/ 2147483646 w 471"/>
                <a:gd name="T47" fmla="*/ 2147483646 h 307"/>
                <a:gd name="T48" fmla="*/ 2147483646 w 471"/>
                <a:gd name="T49" fmla="*/ 2147483646 h 307"/>
                <a:gd name="T50" fmla="*/ 2147483646 w 471"/>
                <a:gd name="T51" fmla="*/ 2147483646 h 307"/>
                <a:gd name="T52" fmla="*/ 2147483646 w 471"/>
                <a:gd name="T53" fmla="*/ 2147483646 h 307"/>
                <a:gd name="T54" fmla="*/ 0 w 471"/>
                <a:gd name="T55" fmla="*/ 2147483646 h 307"/>
                <a:gd name="T56" fmla="*/ 2147483646 w 471"/>
                <a:gd name="T57" fmla="*/ 2147483646 h 307"/>
                <a:gd name="T58" fmla="*/ 2147483646 w 471"/>
                <a:gd name="T59" fmla="*/ 2147483646 h 307"/>
                <a:gd name="T60" fmla="*/ 2147483646 w 471"/>
                <a:gd name="T61" fmla="*/ 2147483646 h 307"/>
                <a:gd name="T62" fmla="*/ 2147483646 w 471"/>
                <a:gd name="T63" fmla="*/ 2147483646 h 307"/>
                <a:gd name="T64" fmla="*/ 2147483646 w 471"/>
                <a:gd name="T65" fmla="*/ 2147483646 h 307"/>
                <a:gd name="T66" fmla="*/ 2147483646 w 471"/>
                <a:gd name="T67" fmla="*/ 2147483646 h 307"/>
                <a:gd name="T68" fmla="*/ 2147483646 w 471"/>
                <a:gd name="T69" fmla="*/ 2147483646 h 307"/>
                <a:gd name="T70" fmla="*/ 2147483646 w 471"/>
                <a:gd name="T71" fmla="*/ 2147483646 h 307"/>
                <a:gd name="T72" fmla="*/ 2147483646 w 471"/>
                <a:gd name="T73" fmla="*/ 2147483646 h 307"/>
                <a:gd name="T74" fmla="*/ 2147483646 w 471"/>
                <a:gd name="T75" fmla="*/ 2147483646 h 307"/>
                <a:gd name="T76" fmla="*/ 2147483646 w 471"/>
                <a:gd name="T77" fmla="*/ 2147483646 h 307"/>
                <a:gd name="T78" fmla="*/ 2147483646 w 471"/>
                <a:gd name="T79" fmla="*/ 2147483646 h 307"/>
                <a:gd name="T80" fmla="*/ 2147483646 w 471"/>
                <a:gd name="T81" fmla="*/ 2147483646 h 307"/>
                <a:gd name="T82" fmla="*/ 2147483646 w 471"/>
                <a:gd name="T83" fmla="*/ 2147483646 h 307"/>
                <a:gd name="T84" fmla="*/ 2147483646 w 471"/>
                <a:gd name="T85" fmla="*/ 0 h 30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71"/>
                <a:gd name="T130" fmla="*/ 0 h 307"/>
                <a:gd name="T131" fmla="*/ 471 w 471"/>
                <a:gd name="T132" fmla="*/ 307 h 30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71" h="307">
                  <a:moveTo>
                    <a:pt x="279" y="0"/>
                  </a:moveTo>
                  <a:lnTo>
                    <a:pt x="309" y="2"/>
                  </a:lnTo>
                  <a:lnTo>
                    <a:pt x="335" y="10"/>
                  </a:lnTo>
                  <a:lnTo>
                    <a:pt x="357" y="19"/>
                  </a:lnTo>
                  <a:lnTo>
                    <a:pt x="378" y="32"/>
                  </a:lnTo>
                  <a:lnTo>
                    <a:pt x="395" y="48"/>
                  </a:lnTo>
                  <a:lnTo>
                    <a:pt x="412" y="68"/>
                  </a:lnTo>
                  <a:lnTo>
                    <a:pt x="426" y="87"/>
                  </a:lnTo>
                  <a:lnTo>
                    <a:pt x="436" y="106"/>
                  </a:lnTo>
                  <a:lnTo>
                    <a:pt x="443" y="121"/>
                  </a:lnTo>
                  <a:lnTo>
                    <a:pt x="446" y="134"/>
                  </a:lnTo>
                  <a:lnTo>
                    <a:pt x="471" y="231"/>
                  </a:lnTo>
                  <a:lnTo>
                    <a:pt x="179" y="307"/>
                  </a:lnTo>
                  <a:lnTo>
                    <a:pt x="191" y="294"/>
                  </a:lnTo>
                  <a:lnTo>
                    <a:pt x="198" y="280"/>
                  </a:lnTo>
                  <a:lnTo>
                    <a:pt x="202" y="263"/>
                  </a:lnTo>
                  <a:lnTo>
                    <a:pt x="199" y="246"/>
                  </a:lnTo>
                  <a:lnTo>
                    <a:pt x="195" y="229"/>
                  </a:lnTo>
                  <a:lnTo>
                    <a:pt x="187" y="210"/>
                  </a:lnTo>
                  <a:lnTo>
                    <a:pt x="174" y="196"/>
                  </a:lnTo>
                  <a:lnTo>
                    <a:pt x="157" y="187"/>
                  </a:lnTo>
                  <a:lnTo>
                    <a:pt x="138" y="184"/>
                  </a:lnTo>
                  <a:lnTo>
                    <a:pt x="131" y="184"/>
                  </a:lnTo>
                  <a:lnTo>
                    <a:pt x="123" y="185"/>
                  </a:lnTo>
                  <a:lnTo>
                    <a:pt x="3" y="217"/>
                  </a:lnTo>
                  <a:lnTo>
                    <a:pt x="1" y="212"/>
                  </a:lnTo>
                  <a:lnTo>
                    <a:pt x="0" y="205"/>
                  </a:lnTo>
                  <a:lnTo>
                    <a:pt x="208" y="151"/>
                  </a:lnTo>
                  <a:lnTo>
                    <a:pt x="225" y="144"/>
                  </a:lnTo>
                  <a:lnTo>
                    <a:pt x="240" y="132"/>
                  </a:lnTo>
                  <a:lnTo>
                    <a:pt x="249" y="116"/>
                  </a:lnTo>
                  <a:lnTo>
                    <a:pt x="253" y="98"/>
                  </a:lnTo>
                  <a:lnTo>
                    <a:pt x="250" y="79"/>
                  </a:lnTo>
                  <a:lnTo>
                    <a:pt x="246" y="62"/>
                  </a:lnTo>
                  <a:lnTo>
                    <a:pt x="238" y="44"/>
                  </a:lnTo>
                  <a:lnTo>
                    <a:pt x="225" y="30"/>
                  </a:lnTo>
                  <a:lnTo>
                    <a:pt x="208" y="20"/>
                  </a:lnTo>
                  <a:lnTo>
                    <a:pt x="189" y="18"/>
                  </a:lnTo>
                  <a:lnTo>
                    <a:pt x="183" y="18"/>
                  </a:lnTo>
                  <a:lnTo>
                    <a:pt x="223" y="7"/>
                  </a:lnTo>
                  <a:lnTo>
                    <a:pt x="251" y="2"/>
                  </a:lnTo>
                  <a:lnTo>
                    <a:pt x="279" y="0"/>
                  </a:lnTo>
                  <a:close/>
                </a:path>
              </a:pathLst>
            </a:custGeom>
            <a:solidFill>
              <a:srgbClr val="EDC9AD"/>
            </a:solidFill>
            <a:ln w="0">
              <a:solidFill>
                <a:srgbClr val="EDC9A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6" name="Freeform 3144">
              <a:extLst>
                <a:ext uri="{FF2B5EF4-FFF2-40B4-BE49-F238E27FC236}">
                  <a16:creationId xmlns:a16="http://schemas.microsoft.com/office/drawing/2014/main" id="{0C4DC878-C46D-4D91-8275-07BF3E785AA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77079" y="2337435"/>
              <a:ext cx="753471" cy="316624"/>
            </a:xfrm>
            <a:custGeom>
              <a:avLst/>
              <a:gdLst>
                <a:gd name="T0" fmla="*/ 2147483646 w 633"/>
                <a:gd name="T1" fmla="*/ 2147483646 h 266"/>
                <a:gd name="T2" fmla="*/ 2147483646 w 633"/>
                <a:gd name="T3" fmla="*/ 2147483646 h 266"/>
                <a:gd name="T4" fmla="*/ 2147483646 w 633"/>
                <a:gd name="T5" fmla="*/ 2147483646 h 266"/>
                <a:gd name="T6" fmla="*/ 2147483646 w 633"/>
                <a:gd name="T7" fmla="*/ 2147483646 h 266"/>
                <a:gd name="T8" fmla="*/ 2147483646 w 633"/>
                <a:gd name="T9" fmla="*/ 2147483646 h 266"/>
                <a:gd name="T10" fmla="*/ 2147483646 w 633"/>
                <a:gd name="T11" fmla="*/ 2147483646 h 266"/>
                <a:gd name="T12" fmla="*/ 2147483646 w 633"/>
                <a:gd name="T13" fmla="*/ 2147483646 h 266"/>
                <a:gd name="T14" fmla="*/ 2147483646 w 633"/>
                <a:gd name="T15" fmla="*/ 2147483646 h 266"/>
                <a:gd name="T16" fmla="*/ 2147483646 w 633"/>
                <a:gd name="T17" fmla="*/ 2147483646 h 266"/>
                <a:gd name="T18" fmla="*/ 2147483646 w 633"/>
                <a:gd name="T19" fmla="*/ 2147483646 h 266"/>
                <a:gd name="T20" fmla="*/ 2147483646 w 633"/>
                <a:gd name="T21" fmla="*/ 2147483646 h 266"/>
                <a:gd name="T22" fmla="*/ 2147483646 w 633"/>
                <a:gd name="T23" fmla="*/ 2147483646 h 266"/>
                <a:gd name="T24" fmla="*/ 2147483646 w 633"/>
                <a:gd name="T25" fmla="*/ 2147483646 h 266"/>
                <a:gd name="T26" fmla="*/ 2147483646 w 633"/>
                <a:gd name="T27" fmla="*/ 2147483646 h 266"/>
                <a:gd name="T28" fmla="*/ 2147483646 w 633"/>
                <a:gd name="T29" fmla="*/ 2147483646 h 266"/>
                <a:gd name="T30" fmla="*/ 2147483646 w 633"/>
                <a:gd name="T31" fmla="*/ 2147483646 h 266"/>
                <a:gd name="T32" fmla="*/ 2147483646 w 633"/>
                <a:gd name="T33" fmla="*/ 2147483646 h 266"/>
                <a:gd name="T34" fmla="*/ 2147483646 w 633"/>
                <a:gd name="T35" fmla="*/ 2147483646 h 266"/>
                <a:gd name="T36" fmla="*/ 2147483646 w 633"/>
                <a:gd name="T37" fmla="*/ 2147483646 h 266"/>
                <a:gd name="T38" fmla="*/ 2147483646 w 633"/>
                <a:gd name="T39" fmla="*/ 2147483646 h 266"/>
                <a:gd name="T40" fmla="*/ 2147483646 w 633"/>
                <a:gd name="T41" fmla="*/ 2147483646 h 266"/>
                <a:gd name="T42" fmla="*/ 2147483646 w 633"/>
                <a:gd name="T43" fmla="*/ 2147483646 h 266"/>
                <a:gd name="T44" fmla="*/ 2147483646 w 633"/>
                <a:gd name="T45" fmla="*/ 2147483646 h 266"/>
                <a:gd name="T46" fmla="*/ 2147483646 w 633"/>
                <a:gd name="T47" fmla="*/ 2147483646 h 266"/>
                <a:gd name="T48" fmla="*/ 2147483646 w 633"/>
                <a:gd name="T49" fmla="*/ 2147483646 h 266"/>
                <a:gd name="T50" fmla="*/ 2147483646 w 633"/>
                <a:gd name="T51" fmla="*/ 0 h 266"/>
                <a:gd name="T52" fmla="*/ 2147483646 w 633"/>
                <a:gd name="T53" fmla="*/ 2147483646 h 266"/>
                <a:gd name="T54" fmla="*/ 2147483646 w 633"/>
                <a:gd name="T55" fmla="*/ 2147483646 h 266"/>
                <a:gd name="T56" fmla="*/ 2147483646 w 633"/>
                <a:gd name="T57" fmla="*/ 2147483646 h 266"/>
                <a:gd name="T58" fmla="*/ 2147483646 w 633"/>
                <a:gd name="T59" fmla="*/ 2147483646 h 266"/>
                <a:gd name="T60" fmla="*/ 2147483646 w 633"/>
                <a:gd name="T61" fmla="*/ 2147483646 h 266"/>
                <a:gd name="T62" fmla="*/ 2147483646 w 633"/>
                <a:gd name="T63" fmla="*/ 2147483646 h 266"/>
                <a:gd name="T64" fmla="*/ 2147483646 w 633"/>
                <a:gd name="T65" fmla="*/ 2147483646 h 266"/>
                <a:gd name="T66" fmla="*/ 2147483646 w 633"/>
                <a:gd name="T67" fmla="*/ 2147483646 h 266"/>
                <a:gd name="T68" fmla="*/ 2147483646 w 633"/>
                <a:gd name="T69" fmla="*/ 2147483646 h 266"/>
                <a:gd name="T70" fmla="*/ 2147483646 w 633"/>
                <a:gd name="T71" fmla="*/ 2147483646 h 266"/>
                <a:gd name="T72" fmla="*/ 2147483646 w 633"/>
                <a:gd name="T73" fmla="*/ 2147483646 h 266"/>
                <a:gd name="T74" fmla="*/ 2147483646 w 633"/>
                <a:gd name="T75" fmla="*/ 2147483646 h 266"/>
                <a:gd name="T76" fmla="*/ 2147483646 w 633"/>
                <a:gd name="T77" fmla="*/ 2147483646 h 266"/>
                <a:gd name="T78" fmla="*/ 2147483646 w 633"/>
                <a:gd name="T79" fmla="*/ 2147483646 h 266"/>
                <a:gd name="T80" fmla="*/ 2147483646 w 633"/>
                <a:gd name="T81" fmla="*/ 2147483646 h 266"/>
                <a:gd name="T82" fmla="*/ 2147483646 w 633"/>
                <a:gd name="T83" fmla="*/ 2147483646 h 266"/>
                <a:gd name="T84" fmla="*/ 2147483646 w 633"/>
                <a:gd name="T85" fmla="*/ 2147483646 h 266"/>
                <a:gd name="T86" fmla="*/ 0 w 633"/>
                <a:gd name="T87" fmla="*/ 2147483646 h 266"/>
                <a:gd name="T88" fmla="*/ 0 w 633"/>
                <a:gd name="T89" fmla="*/ 2147483646 h 266"/>
                <a:gd name="T90" fmla="*/ 2147483646 w 633"/>
                <a:gd name="T91" fmla="*/ 2147483646 h 266"/>
                <a:gd name="T92" fmla="*/ 2147483646 w 633"/>
                <a:gd name="T93" fmla="*/ 2147483646 h 266"/>
                <a:gd name="T94" fmla="*/ 2147483646 w 633"/>
                <a:gd name="T95" fmla="*/ 2147483646 h 266"/>
                <a:gd name="T96" fmla="*/ 2147483646 w 633"/>
                <a:gd name="T97" fmla="*/ 2147483646 h 266"/>
                <a:gd name="T98" fmla="*/ 2147483646 w 633"/>
                <a:gd name="T99" fmla="*/ 2147483646 h 266"/>
                <a:gd name="T100" fmla="*/ 2147483646 w 633"/>
                <a:gd name="T101" fmla="*/ 2147483646 h 266"/>
                <a:gd name="T102" fmla="*/ 2147483646 w 633"/>
                <a:gd name="T103" fmla="*/ 0 h 266"/>
                <a:gd name="T104" fmla="*/ 2147483646 w 633"/>
                <a:gd name="T105" fmla="*/ 0 h 26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33"/>
                <a:gd name="T160" fmla="*/ 0 h 266"/>
                <a:gd name="T161" fmla="*/ 633 w 633"/>
                <a:gd name="T162" fmla="*/ 266 h 26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33" h="266">
                  <a:moveTo>
                    <a:pt x="70" y="145"/>
                  </a:moveTo>
                  <a:lnTo>
                    <a:pt x="66" y="147"/>
                  </a:lnTo>
                  <a:lnTo>
                    <a:pt x="61" y="147"/>
                  </a:lnTo>
                  <a:lnTo>
                    <a:pt x="46" y="153"/>
                  </a:lnTo>
                  <a:lnTo>
                    <a:pt x="34" y="164"/>
                  </a:lnTo>
                  <a:lnTo>
                    <a:pt x="27" y="178"/>
                  </a:lnTo>
                  <a:lnTo>
                    <a:pt x="23" y="193"/>
                  </a:lnTo>
                  <a:lnTo>
                    <a:pt x="24" y="210"/>
                  </a:lnTo>
                  <a:lnTo>
                    <a:pt x="32" y="225"/>
                  </a:lnTo>
                  <a:lnTo>
                    <a:pt x="42" y="237"/>
                  </a:lnTo>
                  <a:lnTo>
                    <a:pt x="57" y="245"/>
                  </a:lnTo>
                  <a:lnTo>
                    <a:pt x="74" y="248"/>
                  </a:lnTo>
                  <a:lnTo>
                    <a:pt x="80" y="246"/>
                  </a:lnTo>
                  <a:lnTo>
                    <a:pt x="87" y="245"/>
                  </a:lnTo>
                  <a:lnTo>
                    <a:pt x="97" y="241"/>
                  </a:lnTo>
                  <a:lnTo>
                    <a:pt x="104" y="233"/>
                  </a:lnTo>
                  <a:lnTo>
                    <a:pt x="106" y="225"/>
                  </a:lnTo>
                  <a:lnTo>
                    <a:pt x="106" y="215"/>
                  </a:lnTo>
                  <a:lnTo>
                    <a:pt x="105" y="202"/>
                  </a:lnTo>
                  <a:lnTo>
                    <a:pt x="101" y="189"/>
                  </a:lnTo>
                  <a:lnTo>
                    <a:pt x="99" y="176"/>
                  </a:lnTo>
                  <a:lnTo>
                    <a:pt x="93" y="164"/>
                  </a:lnTo>
                  <a:lnTo>
                    <a:pt x="88" y="155"/>
                  </a:lnTo>
                  <a:lnTo>
                    <a:pt x="80" y="148"/>
                  </a:lnTo>
                  <a:lnTo>
                    <a:pt x="70" y="145"/>
                  </a:lnTo>
                  <a:close/>
                  <a:moveTo>
                    <a:pt x="569" y="0"/>
                  </a:moveTo>
                  <a:lnTo>
                    <a:pt x="588" y="3"/>
                  </a:lnTo>
                  <a:lnTo>
                    <a:pt x="605" y="12"/>
                  </a:lnTo>
                  <a:lnTo>
                    <a:pt x="618" y="26"/>
                  </a:lnTo>
                  <a:lnTo>
                    <a:pt x="626" y="45"/>
                  </a:lnTo>
                  <a:lnTo>
                    <a:pt x="630" y="62"/>
                  </a:lnTo>
                  <a:lnTo>
                    <a:pt x="633" y="79"/>
                  </a:lnTo>
                  <a:lnTo>
                    <a:pt x="629" y="96"/>
                  </a:lnTo>
                  <a:lnTo>
                    <a:pt x="622" y="110"/>
                  </a:lnTo>
                  <a:lnTo>
                    <a:pt x="610" y="123"/>
                  </a:lnTo>
                  <a:lnTo>
                    <a:pt x="54" y="266"/>
                  </a:lnTo>
                  <a:lnTo>
                    <a:pt x="38" y="262"/>
                  </a:lnTo>
                  <a:lnTo>
                    <a:pt x="24" y="251"/>
                  </a:lnTo>
                  <a:lnTo>
                    <a:pt x="13" y="240"/>
                  </a:lnTo>
                  <a:lnTo>
                    <a:pt x="7" y="223"/>
                  </a:lnTo>
                  <a:lnTo>
                    <a:pt x="2" y="206"/>
                  </a:lnTo>
                  <a:lnTo>
                    <a:pt x="0" y="198"/>
                  </a:lnTo>
                  <a:lnTo>
                    <a:pt x="0" y="191"/>
                  </a:lnTo>
                  <a:lnTo>
                    <a:pt x="3" y="172"/>
                  </a:lnTo>
                  <a:lnTo>
                    <a:pt x="12" y="155"/>
                  </a:lnTo>
                  <a:lnTo>
                    <a:pt x="27" y="142"/>
                  </a:lnTo>
                  <a:lnTo>
                    <a:pt x="45" y="134"/>
                  </a:lnTo>
                  <a:lnTo>
                    <a:pt x="434" y="33"/>
                  </a:lnTo>
                  <a:lnTo>
                    <a:pt x="554" y="1"/>
                  </a:lnTo>
                  <a:lnTo>
                    <a:pt x="562" y="0"/>
                  </a:lnTo>
                  <a:lnTo>
                    <a:pt x="569" y="0"/>
                  </a:lnTo>
                  <a:close/>
                </a:path>
              </a:pathLst>
            </a:custGeom>
            <a:solidFill>
              <a:srgbClr val="EDC9AD"/>
            </a:solidFill>
            <a:ln w="0">
              <a:solidFill>
                <a:srgbClr val="EDC9A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7" name="Freeform 3145">
              <a:extLst>
                <a:ext uri="{FF2B5EF4-FFF2-40B4-BE49-F238E27FC236}">
                  <a16:creationId xmlns:a16="http://schemas.microsoft.com/office/drawing/2014/main" id="{DCE1E11C-B139-48E7-8F5F-A41F23D0A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4456" y="2510031"/>
              <a:ext cx="98797" cy="122603"/>
            </a:xfrm>
            <a:custGeom>
              <a:avLst/>
              <a:gdLst>
                <a:gd name="T0" fmla="*/ 2147483646 w 83"/>
                <a:gd name="T1" fmla="*/ 0 h 103"/>
                <a:gd name="T2" fmla="*/ 2147483646 w 83"/>
                <a:gd name="T3" fmla="*/ 2147483646 h 103"/>
                <a:gd name="T4" fmla="*/ 2147483646 w 83"/>
                <a:gd name="T5" fmla="*/ 2147483646 h 103"/>
                <a:gd name="T6" fmla="*/ 2147483646 w 83"/>
                <a:gd name="T7" fmla="*/ 2147483646 h 103"/>
                <a:gd name="T8" fmla="*/ 2147483646 w 83"/>
                <a:gd name="T9" fmla="*/ 2147483646 h 103"/>
                <a:gd name="T10" fmla="*/ 2147483646 w 83"/>
                <a:gd name="T11" fmla="*/ 2147483646 h 103"/>
                <a:gd name="T12" fmla="*/ 2147483646 w 83"/>
                <a:gd name="T13" fmla="*/ 2147483646 h 103"/>
                <a:gd name="T14" fmla="*/ 2147483646 w 83"/>
                <a:gd name="T15" fmla="*/ 2147483646 h 103"/>
                <a:gd name="T16" fmla="*/ 2147483646 w 83"/>
                <a:gd name="T17" fmla="*/ 2147483646 h 103"/>
                <a:gd name="T18" fmla="*/ 2147483646 w 83"/>
                <a:gd name="T19" fmla="*/ 2147483646 h 103"/>
                <a:gd name="T20" fmla="*/ 2147483646 w 83"/>
                <a:gd name="T21" fmla="*/ 2147483646 h 103"/>
                <a:gd name="T22" fmla="*/ 2147483646 w 83"/>
                <a:gd name="T23" fmla="*/ 2147483646 h 103"/>
                <a:gd name="T24" fmla="*/ 2147483646 w 83"/>
                <a:gd name="T25" fmla="*/ 2147483646 h 103"/>
                <a:gd name="T26" fmla="*/ 2147483646 w 83"/>
                <a:gd name="T27" fmla="*/ 2147483646 h 103"/>
                <a:gd name="T28" fmla="*/ 2147483646 w 83"/>
                <a:gd name="T29" fmla="*/ 2147483646 h 103"/>
                <a:gd name="T30" fmla="*/ 2147483646 w 83"/>
                <a:gd name="T31" fmla="*/ 2147483646 h 103"/>
                <a:gd name="T32" fmla="*/ 2147483646 w 83"/>
                <a:gd name="T33" fmla="*/ 2147483646 h 103"/>
                <a:gd name="T34" fmla="*/ 2147483646 w 83"/>
                <a:gd name="T35" fmla="*/ 2147483646 h 103"/>
                <a:gd name="T36" fmla="*/ 0 w 83"/>
                <a:gd name="T37" fmla="*/ 2147483646 h 103"/>
                <a:gd name="T38" fmla="*/ 2147483646 w 83"/>
                <a:gd name="T39" fmla="*/ 2147483646 h 103"/>
                <a:gd name="T40" fmla="*/ 2147483646 w 83"/>
                <a:gd name="T41" fmla="*/ 2147483646 h 103"/>
                <a:gd name="T42" fmla="*/ 2147483646 w 83"/>
                <a:gd name="T43" fmla="*/ 2147483646 h 103"/>
                <a:gd name="T44" fmla="*/ 2147483646 w 83"/>
                <a:gd name="T45" fmla="*/ 2147483646 h 103"/>
                <a:gd name="T46" fmla="*/ 2147483646 w 83"/>
                <a:gd name="T47" fmla="*/ 2147483646 h 103"/>
                <a:gd name="T48" fmla="*/ 2147483646 w 83"/>
                <a:gd name="T49" fmla="*/ 0 h 10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3"/>
                <a:gd name="T76" fmla="*/ 0 h 103"/>
                <a:gd name="T77" fmla="*/ 83 w 83"/>
                <a:gd name="T78" fmla="*/ 103 h 10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3" h="103">
                  <a:moveTo>
                    <a:pt x="47" y="0"/>
                  </a:moveTo>
                  <a:lnTo>
                    <a:pt x="57" y="3"/>
                  </a:lnTo>
                  <a:lnTo>
                    <a:pt x="65" y="10"/>
                  </a:lnTo>
                  <a:lnTo>
                    <a:pt x="70" y="19"/>
                  </a:lnTo>
                  <a:lnTo>
                    <a:pt x="76" y="31"/>
                  </a:lnTo>
                  <a:lnTo>
                    <a:pt x="78" y="44"/>
                  </a:lnTo>
                  <a:lnTo>
                    <a:pt x="82" y="57"/>
                  </a:lnTo>
                  <a:lnTo>
                    <a:pt x="83" y="70"/>
                  </a:lnTo>
                  <a:lnTo>
                    <a:pt x="83" y="80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57" y="101"/>
                  </a:lnTo>
                  <a:lnTo>
                    <a:pt x="51" y="103"/>
                  </a:lnTo>
                  <a:lnTo>
                    <a:pt x="34" y="100"/>
                  </a:lnTo>
                  <a:lnTo>
                    <a:pt x="19" y="92"/>
                  </a:lnTo>
                  <a:lnTo>
                    <a:pt x="9" y="80"/>
                  </a:lnTo>
                  <a:lnTo>
                    <a:pt x="1" y="65"/>
                  </a:lnTo>
                  <a:lnTo>
                    <a:pt x="0" y="48"/>
                  </a:lnTo>
                  <a:lnTo>
                    <a:pt x="4" y="33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2"/>
                  </a:lnTo>
                  <a:lnTo>
                    <a:pt x="43" y="2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F5E3D5"/>
            </a:solidFill>
            <a:ln w="0">
              <a:solidFill>
                <a:srgbClr val="F5E3D5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8" name="Freeform 3146">
              <a:extLst>
                <a:ext uri="{FF2B5EF4-FFF2-40B4-BE49-F238E27FC236}">
                  <a16:creationId xmlns:a16="http://schemas.microsoft.com/office/drawing/2014/main" id="{5ED0D7CB-07D2-4931-AB37-E3EF634FBC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37785" y="2139842"/>
              <a:ext cx="753471" cy="317815"/>
            </a:xfrm>
            <a:custGeom>
              <a:avLst/>
              <a:gdLst>
                <a:gd name="T0" fmla="*/ 2147483646 w 633"/>
                <a:gd name="T1" fmla="*/ 2147483646 h 267"/>
                <a:gd name="T2" fmla="*/ 2147483646 w 633"/>
                <a:gd name="T3" fmla="*/ 2147483646 h 267"/>
                <a:gd name="T4" fmla="*/ 2147483646 w 633"/>
                <a:gd name="T5" fmla="*/ 2147483646 h 267"/>
                <a:gd name="T6" fmla="*/ 2147483646 w 633"/>
                <a:gd name="T7" fmla="*/ 2147483646 h 267"/>
                <a:gd name="T8" fmla="*/ 2147483646 w 633"/>
                <a:gd name="T9" fmla="*/ 2147483646 h 267"/>
                <a:gd name="T10" fmla="*/ 2147483646 w 633"/>
                <a:gd name="T11" fmla="*/ 2147483646 h 267"/>
                <a:gd name="T12" fmla="*/ 2147483646 w 633"/>
                <a:gd name="T13" fmla="*/ 2147483646 h 267"/>
                <a:gd name="T14" fmla="*/ 2147483646 w 633"/>
                <a:gd name="T15" fmla="*/ 2147483646 h 267"/>
                <a:gd name="T16" fmla="*/ 2147483646 w 633"/>
                <a:gd name="T17" fmla="*/ 2147483646 h 267"/>
                <a:gd name="T18" fmla="*/ 2147483646 w 633"/>
                <a:gd name="T19" fmla="*/ 2147483646 h 267"/>
                <a:gd name="T20" fmla="*/ 2147483646 w 633"/>
                <a:gd name="T21" fmla="*/ 2147483646 h 267"/>
                <a:gd name="T22" fmla="*/ 2147483646 w 633"/>
                <a:gd name="T23" fmla="*/ 2147483646 h 267"/>
                <a:gd name="T24" fmla="*/ 2147483646 w 633"/>
                <a:gd name="T25" fmla="*/ 2147483646 h 267"/>
                <a:gd name="T26" fmla="*/ 2147483646 w 633"/>
                <a:gd name="T27" fmla="*/ 2147483646 h 267"/>
                <a:gd name="T28" fmla="*/ 2147483646 w 633"/>
                <a:gd name="T29" fmla="*/ 2147483646 h 267"/>
                <a:gd name="T30" fmla="*/ 2147483646 w 633"/>
                <a:gd name="T31" fmla="*/ 2147483646 h 267"/>
                <a:gd name="T32" fmla="*/ 2147483646 w 633"/>
                <a:gd name="T33" fmla="*/ 2147483646 h 267"/>
                <a:gd name="T34" fmla="*/ 2147483646 w 633"/>
                <a:gd name="T35" fmla="*/ 2147483646 h 267"/>
                <a:gd name="T36" fmla="*/ 2147483646 w 633"/>
                <a:gd name="T37" fmla="*/ 2147483646 h 267"/>
                <a:gd name="T38" fmla="*/ 2147483646 w 633"/>
                <a:gd name="T39" fmla="*/ 2147483646 h 267"/>
                <a:gd name="T40" fmla="*/ 2147483646 w 633"/>
                <a:gd name="T41" fmla="*/ 2147483646 h 267"/>
                <a:gd name="T42" fmla="*/ 2147483646 w 633"/>
                <a:gd name="T43" fmla="*/ 2147483646 h 267"/>
                <a:gd name="T44" fmla="*/ 2147483646 w 633"/>
                <a:gd name="T45" fmla="*/ 2147483646 h 267"/>
                <a:gd name="T46" fmla="*/ 2147483646 w 633"/>
                <a:gd name="T47" fmla="*/ 2147483646 h 267"/>
                <a:gd name="T48" fmla="*/ 2147483646 w 633"/>
                <a:gd name="T49" fmla="*/ 2147483646 h 267"/>
                <a:gd name="T50" fmla="*/ 2147483646 w 633"/>
                <a:gd name="T51" fmla="*/ 0 h 267"/>
                <a:gd name="T52" fmla="*/ 2147483646 w 633"/>
                <a:gd name="T53" fmla="*/ 2147483646 h 267"/>
                <a:gd name="T54" fmla="*/ 2147483646 w 633"/>
                <a:gd name="T55" fmla="*/ 2147483646 h 267"/>
                <a:gd name="T56" fmla="*/ 2147483646 w 633"/>
                <a:gd name="T57" fmla="*/ 2147483646 h 267"/>
                <a:gd name="T58" fmla="*/ 2147483646 w 633"/>
                <a:gd name="T59" fmla="*/ 2147483646 h 267"/>
                <a:gd name="T60" fmla="*/ 2147483646 w 633"/>
                <a:gd name="T61" fmla="*/ 2147483646 h 267"/>
                <a:gd name="T62" fmla="*/ 2147483646 w 633"/>
                <a:gd name="T63" fmla="*/ 2147483646 h 267"/>
                <a:gd name="T64" fmla="*/ 2147483646 w 633"/>
                <a:gd name="T65" fmla="*/ 2147483646 h 267"/>
                <a:gd name="T66" fmla="*/ 2147483646 w 633"/>
                <a:gd name="T67" fmla="*/ 2147483646 h 267"/>
                <a:gd name="T68" fmla="*/ 2147483646 w 633"/>
                <a:gd name="T69" fmla="*/ 2147483646 h 267"/>
                <a:gd name="T70" fmla="*/ 2147483646 w 633"/>
                <a:gd name="T71" fmla="*/ 2147483646 h 267"/>
                <a:gd name="T72" fmla="*/ 2147483646 w 633"/>
                <a:gd name="T73" fmla="*/ 2147483646 h 267"/>
                <a:gd name="T74" fmla="*/ 2147483646 w 633"/>
                <a:gd name="T75" fmla="*/ 2147483646 h 267"/>
                <a:gd name="T76" fmla="*/ 2147483646 w 633"/>
                <a:gd name="T77" fmla="*/ 2147483646 h 267"/>
                <a:gd name="T78" fmla="*/ 2147483646 w 633"/>
                <a:gd name="T79" fmla="*/ 2147483646 h 267"/>
                <a:gd name="T80" fmla="*/ 2147483646 w 633"/>
                <a:gd name="T81" fmla="*/ 2147483646 h 267"/>
                <a:gd name="T82" fmla="*/ 2147483646 w 633"/>
                <a:gd name="T83" fmla="*/ 2147483646 h 267"/>
                <a:gd name="T84" fmla="*/ 2147483646 w 633"/>
                <a:gd name="T85" fmla="*/ 2147483646 h 267"/>
                <a:gd name="T86" fmla="*/ 2147483646 w 633"/>
                <a:gd name="T87" fmla="*/ 2147483646 h 267"/>
                <a:gd name="T88" fmla="*/ 2147483646 w 633"/>
                <a:gd name="T89" fmla="*/ 2147483646 h 267"/>
                <a:gd name="T90" fmla="*/ 2147483646 w 633"/>
                <a:gd name="T91" fmla="*/ 2147483646 h 267"/>
                <a:gd name="T92" fmla="*/ 2147483646 w 633"/>
                <a:gd name="T93" fmla="*/ 2147483646 h 267"/>
                <a:gd name="T94" fmla="*/ 2147483646 w 633"/>
                <a:gd name="T95" fmla="*/ 2147483646 h 267"/>
                <a:gd name="T96" fmla="*/ 2147483646 w 633"/>
                <a:gd name="T97" fmla="*/ 2147483646 h 267"/>
                <a:gd name="T98" fmla="*/ 2147483646 w 633"/>
                <a:gd name="T99" fmla="*/ 2147483646 h 267"/>
                <a:gd name="T100" fmla="*/ 0 w 633"/>
                <a:gd name="T101" fmla="*/ 2147483646 h 267"/>
                <a:gd name="T102" fmla="*/ 0 w 633"/>
                <a:gd name="T103" fmla="*/ 2147483646 h 267"/>
                <a:gd name="T104" fmla="*/ 2147483646 w 633"/>
                <a:gd name="T105" fmla="*/ 2147483646 h 267"/>
                <a:gd name="T106" fmla="*/ 2147483646 w 633"/>
                <a:gd name="T107" fmla="*/ 2147483646 h 267"/>
                <a:gd name="T108" fmla="*/ 2147483646 w 633"/>
                <a:gd name="T109" fmla="*/ 2147483646 h 267"/>
                <a:gd name="T110" fmla="*/ 2147483646 w 633"/>
                <a:gd name="T111" fmla="*/ 2147483646 h 267"/>
                <a:gd name="T112" fmla="*/ 2147483646 w 633"/>
                <a:gd name="T113" fmla="*/ 2147483646 h 267"/>
                <a:gd name="T114" fmla="*/ 2147483646 w 633"/>
                <a:gd name="T115" fmla="*/ 0 h 267"/>
                <a:gd name="T116" fmla="*/ 2147483646 w 633"/>
                <a:gd name="T117" fmla="*/ 0 h 267"/>
                <a:gd name="T118" fmla="*/ 2147483646 w 633"/>
                <a:gd name="T119" fmla="*/ 0 h 26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33"/>
                <a:gd name="T181" fmla="*/ 0 h 267"/>
                <a:gd name="T182" fmla="*/ 633 w 633"/>
                <a:gd name="T183" fmla="*/ 267 h 267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33" h="267">
                  <a:moveTo>
                    <a:pt x="71" y="145"/>
                  </a:moveTo>
                  <a:lnTo>
                    <a:pt x="66" y="145"/>
                  </a:lnTo>
                  <a:lnTo>
                    <a:pt x="61" y="146"/>
                  </a:lnTo>
                  <a:lnTo>
                    <a:pt x="46" y="153"/>
                  </a:lnTo>
                  <a:lnTo>
                    <a:pt x="34" y="164"/>
                  </a:lnTo>
                  <a:lnTo>
                    <a:pt x="27" y="177"/>
                  </a:lnTo>
                  <a:lnTo>
                    <a:pt x="23" y="192"/>
                  </a:lnTo>
                  <a:lnTo>
                    <a:pt x="24" y="208"/>
                  </a:lnTo>
                  <a:lnTo>
                    <a:pt x="32" y="224"/>
                  </a:lnTo>
                  <a:lnTo>
                    <a:pt x="42" y="236"/>
                  </a:lnTo>
                  <a:lnTo>
                    <a:pt x="57" y="243"/>
                  </a:lnTo>
                  <a:lnTo>
                    <a:pt x="74" y="246"/>
                  </a:lnTo>
                  <a:lnTo>
                    <a:pt x="80" y="246"/>
                  </a:lnTo>
                  <a:lnTo>
                    <a:pt x="87" y="245"/>
                  </a:lnTo>
                  <a:lnTo>
                    <a:pt x="97" y="241"/>
                  </a:lnTo>
                  <a:lnTo>
                    <a:pt x="104" y="233"/>
                  </a:lnTo>
                  <a:lnTo>
                    <a:pt x="106" y="224"/>
                  </a:lnTo>
                  <a:lnTo>
                    <a:pt x="106" y="213"/>
                  </a:lnTo>
                  <a:lnTo>
                    <a:pt x="105" y="201"/>
                  </a:lnTo>
                  <a:lnTo>
                    <a:pt x="101" y="188"/>
                  </a:lnTo>
                  <a:lnTo>
                    <a:pt x="99" y="175"/>
                  </a:lnTo>
                  <a:lnTo>
                    <a:pt x="93" y="164"/>
                  </a:lnTo>
                  <a:lnTo>
                    <a:pt x="88" y="153"/>
                  </a:lnTo>
                  <a:lnTo>
                    <a:pt x="80" y="148"/>
                  </a:lnTo>
                  <a:lnTo>
                    <a:pt x="71" y="145"/>
                  </a:lnTo>
                  <a:close/>
                  <a:moveTo>
                    <a:pt x="569" y="0"/>
                  </a:moveTo>
                  <a:lnTo>
                    <a:pt x="588" y="2"/>
                  </a:lnTo>
                  <a:lnTo>
                    <a:pt x="605" y="12"/>
                  </a:lnTo>
                  <a:lnTo>
                    <a:pt x="618" y="26"/>
                  </a:lnTo>
                  <a:lnTo>
                    <a:pt x="626" y="44"/>
                  </a:lnTo>
                  <a:lnTo>
                    <a:pt x="630" y="61"/>
                  </a:lnTo>
                  <a:lnTo>
                    <a:pt x="633" y="80"/>
                  </a:lnTo>
                  <a:lnTo>
                    <a:pt x="629" y="98"/>
                  </a:lnTo>
                  <a:lnTo>
                    <a:pt x="620" y="114"/>
                  </a:lnTo>
                  <a:lnTo>
                    <a:pt x="605" y="126"/>
                  </a:lnTo>
                  <a:lnTo>
                    <a:pt x="588" y="133"/>
                  </a:lnTo>
                  <a:lnTo>
                    <a:pt x="380" y="187"/>
                  </a:lnTo>
                  <a:lnTo>
                    <a:pt x="79" y="264"/>
                  </a:lnTo>
                  <a:lnTo>
                    <a:pt x="78" y="264"/>
                  </a:lnTo>
                  <a:lnTo>
                    <a:pt x="71" y="266"/>
                  </a:lnTo>
                  <a:lnTo>
                    <a:pt x="63" y="267"/>
                  </a:lnTo>
                  <a:lnTo>
                    <a:pt x="45" y="263"/>
                  </a:lnTo>
                  <a:lnTo>
                    <a:pt x="28" y="255"/>
                  </a:lnTo>
                  <a:lnTo>
                    <a:pt x="15" y="241"/>
                  </a:lnTo>
                  <a:lnTo>
                    <a:pt x="7" y="222"/>
                  </a:lnTo>
                  <a:lnTo>
                    <a:pt x="4" y="216"/>
                  </a:lnTo>
                  <a:lnTo>
                    <a:pt x="2" y="205"/>
                  </a:lnTo>
                  <a:lnTo>
                    <a:pt x="0" y="198"/>
                  </a:lnTo>
                  <a:lnTo>
                    <a:pt x="0" y="190"/>
                  </a:lnTo>
                  <a:lnTo>
                    <a:pt x="3" y="171"/>
                  </a:lnTo>
                  <a:lnTo>
                    <a:pt x="12" y="154"/>
                  </a:lnTo>
                  <a:lnTo>
                    <a:pt x="27" y="141"/>
                  </a:lnTo>
                  <a:lnTo>
                    <a:pt x="45" y="133"/>
                  </a:lnTo>
                  <a:lnTo>
                    <a:pt x="554" y="1"/>
                  </a:lnTo>
                  <a:lnTo>
                    <a:pt x="563" y="0"/>
                  </a:lnTo>
                  <a:lnTo>
                    <a:pt x="569" y="0"/>
                  </a:lnTo>
                  <a:close/>
                </a:path>
              </a:pathLst>
            </a:custGeom>
            <a:solidFill>
              <a:srgbClr val="EDC9AD"/>
            </a:solidFill>
            <a:ln w="0">
              <a:solidFill>
                <a:srgbClr val="EDC9AD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29" name="Freeform 3147">
              <a:extLst>
                <a:ext uri="{FF2B5EF4-FFF2-40B4-BE49-F238E27FC236}">
                  <a16:creationId xmlns:a16="http://schemas.microsoft.com/office/drawing/2014/main" id="{15061327-AC36-4290-B0CB-EF61DC6FA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5162" y="2312438"/>
              <a:ext cx="98797" cy="120222"/>
            </a:xfrm>
            <a:custGeom>
              <a:avLst/>
              <a:gdLst>
                <a:gd name="T0" fmla="*/ 2147483646 w 83"/>
                <a:gd name="T1" fmla="*/ 0 h 101"/>
                <a:gd name="T2" fmla="*/ 2147483646 w 83"/>
                <a:gd name="T3" fmla="*/ 2147483646 h 101"/>
                <a:gd name="T4" fmla="*/ 2147483646 w 83"/>
                <a:gd name="T5" fmla="*/ 2147483646 h 101"/>
                <a:gd name="T6" fmla="*/ 2147483646 w 83"/>
                <a:gd name="T7" fmla="*/ 2147483646 h 101"/>
                <a:gd name="T8" fmla="*/ 2147483646 w 83"/>
                <a:gd name="T9" fmla="*/ 2147483646 h 101"/>
                <a:gd name="T10" fmla="*/ 2147483646 w 83"/>
                <a:gd name="T11" fmla="*/ 2147483646 h 101"/>
                <a:gd name="T12" fmla="*/ 2147483646 w 83"/>
                <a:gd name="T13" fmla="*/ 2147483646 h 101"/>
                <a:gd name="T14" fmla="*/ 2147483646 w 83"/>
                <a:gd name="T15" fmla="*/ 2147483646 h 101"/>
                <a:gd name="T16" fmla="*/ 2147483646 w 83"/>
                <a:gd name="T17" fmla="*/ 2147483646 h 101"/>
                <a:gd name="T18" fmla="*/ 2147483646 w 83"/>
                <a:gd name="T19" fmla="*/ 2147483646 h 101"/>
                <a:gd name="T20" fmla="*/ 2147483646 w 83"/>
                <a:gd name="T21" fmla="*/ 2147483646 h 101"/>
                <a:gd name="T22" fmla="*/ 2147483646 w 83"/>
                <a:gd name="T23" fmla="*/ 2147483646 h 101"/>
                <a:gd name="T24" fmla="*/ 2147483646 w 83"/>
                <a:gd name="T25" fmla="*/ 2147483646 h 101"/>
                <a:gd name="T26" fmla="*/ 2147483646 w 83"/>
                <a:gd name="T27" fmla="*/ 2147483646 h 101"/>
                <a:gd name="T28" fmla="*/ 2147483646 w 83"/>
                <a:gd name="T29" fmla="*/ 2147483646 h 101"/>
                <a:gd name="T30" fmla="*/ 2147483646 w 83"/>
                <a:gd name="T31" fmla="*/ 2147483646 h 101"/>
                <a:gd name="T32" fmla="*/ 2147483646 w 83"/>
                <a:gd name="T33" fmla="*/ 2147483646 h 101"/>
                <a:gd name="T34" fmla="*/ 2147483646 w 83"/>
                <a:gd name="T35" fmla="*/ 2147483646 h 101"/>
                <a:gd name="T36" fmla="*/ 0 w 83"/>
                <a:gd name="T37" fmla="*/ 2147483646 h 101"/>
                <a:gd name="T38" fmla="*/ 2147483646 w 83"/>
                <a:gd name="T39" fmla="*/ 2147483646 h 101"/>
                <a:gd name="T40" fmla="*/ 2147483646 w 83"/>
                <a:gd name="T41" fmla="*/ 2147483646 h 101"/>
                <a:gd name="T42" fmla="*/ 2147483646 w 83"/>
                <a:gd name="T43" fmla="*/ 2147483646 h 101"/>
                <a:gd name="T44" fmla="*/ 2147483646 w 83"/>
                <a:gd name="T45" fmla="*/ 2147483646 h 101"/>
                <a:gd name="T46" fmla="*/ 2147483646 w 83"/>
                <a:gd name="T47" fmla="*/ 0 h 101"/>
                <a:gd name="T48" fmla="*/ 2147483646 w 83"/>
                <a:gd name="T49" fmla="*/ 0 h 10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3"/>
                <a:gd name="T76" fmla="*/ 0 h 101"/>
                <a:gd name="T77" fmla="*/ 83 w 83"/>
                <a:gd name="T78" fmla="*/ 101 h 10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3" h="101">
                  <a:moveTo>
                    <a:pt x="48" y="0"/>
                  </a:moveTo>
                  <a:lnTo>
                    <a:pt x="57" y="3"/>
                  </a:lnTo>
                  <a:lnTo>
                    <a:pt x="65" y="8"/>
                  </a:lnTo>
                  <a:lnTo>
                    <a:pt x="70" y="19"/>
                  </a:lnTo>
                  <a:lnTo>
                    <a:pt x="76" y="30"/>
                  </a:lnTo>
                  <a:lnTo>
                    <a:pt x="78" y="43"/>
                  </a:lnTo>
                  <a:lnTo>
                    <a:pt x="82" y="56"/>
                  </a:lnTo>
                  <a:lnTo>
                    <a:pt x="83" y="68"/>
                  </a:lnTo>
                  <a:lnTo>
                    <a:pt x="83" y="79"/>
                  </a:lnTo>
                  <a:lnTo>
                    <a:pt x="81" y="88"/>
                  </a:lnTo>
                  <a:lnTo>
                    <a:pt x="74" y="96"/>
                  </a:lnTo>
                  <a:lnTo>
                    <a:pt x="64" y="100"/>
                  </a:lnTo>
                  <a:lnTo>
                    <a:pt x="57" y="101"/>
                  </a:lnTo>
                  <a:lnTo>
                    <a:pt x="51" y="101"/>
                  </a:lnTo>
                  <a:lnTo>
                    <a:pt x="34" y="98"/>
                  </a:lnTo>
                  <a:lnTo>
                    <a:pt x="19" y="91"/>
                  </a:lnTo>
                  <a:lnTo>
                    <a:pt x="9" y="79"/>
                  </a:lnTo>
                  <a:lnTo>
                    <a:pt x="1" y="63"/>
                  </a:lnTo>
                  <a:lnTo>
                    <a:pt x="0" y="47"/>
                  </a:lnTo>
                  <a:lnTo>
                    <a:pt x="4" y="32"/>
                  </a:lnTo>
                  <a:lnTo>
                    <a:pt x="11" y="19"/>
                  </a:lnTo>
                  <a:lnTo>
                    <a:pt x="23" y="8"/>
                  </a:lnTo>
                  <a:lnTo>
                    <a:pt x="38" y="1"/>
                  </a:lnTo>
                  <a:lnTo>
                    <a:pt x="43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5E3D5"/>
            </a:solidFill>
            <a:ln w="0">
              <a:solidFill>
                <a:srgbClr val="F5E3D5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0" name="Freeform 3148">
              <a:extLst>
                <a:ext uri="{FF2B5EF4-FFF2-40B4-BE49-F238E27FC236}">
                  <a16:creationId xmlns:a16="http://schemas.microsoft.com/office/drawing/2014/main" id="{D05706ED-0914-4C75-9EED-89CCC0ED8E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390025" y="1881543"/>
              <a:ext cx="796323" cy="484460"/>
            </a:xfrm>
            <a:custGeom>
              <a:avLst/>
              <a:gdLst>
                <a:gd name="T0" fmla="*/ 2147483646 w 669"/>
                <a:gd name="T1" fmla="*/ 2147483646 h 407"/>
                <a:gd name="T2" fmla="*/ 2147483646 w 669"/>
                <a:gd name="T3" fmla="*/ 2147483646 h 407"/>
                <a:gd name="T4" fmla="*/ 2147483646 w 669"/>
                <a:gd name="T5" fmla="*/ 2147483646 h 407"/>
                <a:gd name="T6" fmla="*/ 2147483646 w 669"/>
                <a:gd name="T7" fmla="*/ 2147483646 h 407"/>
                <a:gd name="T8" fmla="*/ 2147483646 w 669"/>
                <a:gd name="T9" fmla="*/ 2147483646 h 407"/>
                <a:gd name="T10" fmla="*/ 2147483646 w 669"/>
                <a:gd name="T11" fmla="*/ 2147483646 h 407"/>
                <a:gd name="T12" fmla="*/ 2147483646 w 669"/>
                <a:gd name="T13" fmla="*/ 2147483646 h 407"/>
                <a:gd name="T14" fmla="*/ 2147483646 w 669"/>
                <a:gd name="T15" fmla="*/ 2147483646 h 407"/>
                <a:gd name="T16" fmla="*/ 2147483646 w 669"/>
                <a:gd name="T17" fmla="*/ 2147483646 h 407"/>
                <a:gd name="T18" fmla="*/ 2147483646 w 669"/>
                <a:gd name="T19" fmla="*/ 2147483646 h 407"/>
                <a:gd name="T20" fmla="*/ 2147483646 w 669"/>
                <a:gd name="T21" fmla="*/ 2147483646 h 407"/>
                <a:gd name="T22" fmla="*/ 2147483646 w 669"/>
                <a:gd name="T23" fmla="*/ 2147483646 h 407"/>
                <a:gd name="T24" fmla="*/ 2147483646 w 669"/>
                <a:gd name="T25" fmla="*/ 2147483646 h 407"/>
                <a:gd name="T26" fmla="*/ 2147483646 w 669"/>
                <a:gd name="T27" fmla="*/ 2147483646 h 407"/>
                <a:gd name="T28" fmla="*/ 2147483646 w 669"/>
                <a:gd name="T29" fmla="*/ 2147483646 h 407"/>
                <a:gd name="T30" fmla="*/ 2147483646 w 669"/>
                <a:gd name="T31" fmla="*/ 2147483646 h 407"/>
                <a:gd name="T32" fmla="*/ 2147483646 w 669"/>
                <a:gd name="T33" fmla="*/ 2147483646 h 407"/>
                <a:gd name="T34" fmla="*/ 2147483646 w 669"/>
                <a:gd name="T35" fmla="*/ 0 h 407"/>
                <a:gd name="T36" fmla="*/ 2147483646 w 669"/>
                <a:gd name="T37" fmla="*/ 2147483646 h 407"/>
                <a:gd name="T38" fmla="*/ 2147483646 w 669"/>
                <a:gd name="T39" fmla="*/ 2147483646 h 407"/>
                <a:gd name="T40" fmla="*/ 2147483646 w 669"/>
                <a:gd name="T41" fmla="*/ 2147483646 h 407"/>
                <a:gd name="T42" fmla="*/ 2147483646 w 669"/>
                <a:gd name="T43" fmla="*/ 2147483646 h 407"/>
                <a:gd name="T44" fmla="*/ 2147483646 w 669"/>
                <a:gd name="T45" fmla="*/ 2147483646 h 407"/>
                <a:gd name="T46" fmla="*/ 2147483646 w 669"/>
                <a:gd name="T47" fmla="*/ 2147483646 h 407"/>
                <a:gd name="T48" fmla="*/ 2147483646 w 669"/>
                <a:gd name="T49" fmla="*/ 2147483646 h 407"/>
                <a:gd name="T50" fmla="*/ 2147483646 w 669"/>
                <a:gd name="T51" fmla="*/ 2147483646 h 407"/>
                <a:gd name="T52" fmla="*/ 0 w 669"/>
                <a:gd name="T53" fmla="*/ 2147483646 h 407"/>
                <a:gd name="T54" fmla="*/ 2147483646 w 669"/>
                <a:gd name="T55" fmla="*/ 0 h 40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669"/>
                <a:gd name="T85" fmla="*/ 0 h 407"/>
                <a:gd name="T86" fmla="*/ 669 w 669"/>
                <a:gd name="T87" fmla="*/ 407 h 40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669" h="407">
                  <a:moveTo>
                    <a:pt x="93" y="180"/>
                  </a:moveTo>
                  <a:lnTo>
                    <a:pt x="84" y="180"/>
                  </a:lnTo>
                  <a:lnTo>
                    <a:pt x="72" y="187"/>
                  </a:lnTo>
                  <a:lnTo>
                    <a:pt x="63" y="197"/>
                  </a:lnTo>
                  <a:lnTo>
                    <a:pt x="59" y="209"/>
                  </a:lnTo>
                  <a:lnTo>
                    <a:pt x="59" y="223"/>
                  </a:lnTo>
                  <a:lnTo>
                    <a:pt x="66" y="237"/>
                  </a:lnTo>
                  <a:lnTo>
                    <a:pt x="77" y="246"/>
                  </a:lnTo>
                  <a:lnTo>
                    <a:pt x="93" y="248"/>
                  </a:lnTo>
                  <a:lnTo>
                    <a:pt x="101" y="247"/>
                  </a:lnTo>
                  <a:lnTo>
                    <a:pt x="114" y="242"/>
                  </a:lnTo>
                  <a:lnTo>
                    <a:pt x="122" y="231"/>
                  </a:lnTo>
                  <a:lnTo>
                    <a:pt x="127" y="219"/>
                  </a:lnTo>
                  <a:lnTo>
                    <a:pt x="126" y="205"/>
                  </a:lnTo>
                  <a:lnTo>
                    <a:pt x="119" y="192"/>
                  </a:lnTo>
                  <a:lnTo>
                    <a:pt x="107" y="183"/>
                  </a:lnTo>
                  <a:lnTo>
                    <a:pt x="93" y="180"/>
                  </a:lnTo>
                  <a:close/>
                  <a:moveTo>
                    <a:pt x="669" y="0"/>
                  </a:moveTo>
                  <a:lnTo>
                    <a:pt x="669" y="250"/>
                  </a:lnTo>
                  <a:lnTo>
                    <a:pt x="60" y="407"/>
                  </a:lnTo>
                  <a:lnTo>
                    <a:pt x="41" y="328"/>
                  </a:lnTo>
                  <a:lnTo>
                    <a:pt x="162" y="274"/>
                  </a:lnTo>
                  <a:lnTo>
                    <a:pt x="28" y="280"/>
                  </a:lnTo>
                  <a:lnTo>
                    <a:pt x="12" y="216"/>
                  </a:lnTo>
                  <a:lnTo>
                    <a:pt x="0" y="172"/>
                  </a:lnTo>
                  <a:lnTo>
                    <a:pt x="669" y="0"/>
                  </a:lnTo>
                  <a:close/>
                </a:path>
              </a:pathLst>
            </a:custGeom>
            <a:solidFill>
              <a:srgbClr val="BD996F"/>
            </a:solidFill>
            <a:ln w="0">
              <a:solidFill>
                <a:srgbClr val="BD996F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1" name="Freeform 3149">
              <a:extLst>
                <a:ext uri="{FF2B5EF4-FFF2-40B4-BE49-F238E27FC236}">
                  <a16:creationId xmlns:a16="http://schemas.microsoft.com/office/drawing/2014/main" id="{5D1A0341-3E2F-46BA-896E-5A8F0A4C21C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60254" y="2095800"/>
              <a:ext cx="80942" cy="80942"/>
            </a:xfrm>
            <a:custGeom>
              <a:avLst/>
              <a:gdLst>
                <a:gd name="T0" fmla="*/ 2147483646 w 68"/>
                <a:gd name="T1" fmla="*/ 2147483646 h 68"/>
                <a:gd name="T2" fmla="*/ 2147483646 w 68"/>
                <a:gd name="T3" fmla="*/ 2147483646 h 68"/>
                <a:gd name="T4" fmla="*/ 2147483646 w 68"/>
                <a:gd name="T5" fmla="*/ 2147483646 h 68"/>
                <a:gd name="T6" fmla="*/ 2147483646 w 68"/>
                <a:gd name="T7" fmla="*/ 2147483646 h 68"/>
                <a:gd name="T8" fmla="*/ 2147483646 w 68"/>
                <a:gd name="T9" fmla="*/ 2147483646 h 68"/>
                <a:gd name="T10" fmla="*/ 2147483646 w 68"/>
                <a:gd name="T11" fmla="*/ 2147483646 h 68"/>
                <a:gd name="T12" fmla="*/ 2147483646 w 68"/>
                <a:gd name="T13" fmla="*/ 2147483646 h 68"/>
                <a:gd name="T14" fmla="*/ 2147483646 w 68"/>
                <a:gd name="T15" fmla="*/ 2147483646 h 68"/>
                <a:gd name="T16" fmla="*/ 2147483646 w 68"/>
                <a:gd name="T17" fmla="*/ 2147483646 h 68"/>
                <a:gd name="T18" fmla="*/ 2147483646 w 68"/>
                <a:gd name="T19" fmla="*/ 2147483646 h 68"/>
                <a:gd name="T20" fmla="*/ 2147483646 w 68"/>
                <a:gd name="T21" fmla="*/ 2147483646 h 68"/>
                <a:gd name="T22" fmla="*/ 2147483646 w 68"/>
                <a:gd name="T23" fmla="*/ 2147483646 h 68"/>
                <a:gd name="T24" fmla="*/ 2147483646 w 68"/>
                <a:gd name="T25" fmla="*/ 2147483646 h 68"/>
                <a:gd name="T26" fmla="*/ 2147483646 w 68"/>
                <a:gd name="T27" fmla="*/ 2147483646 h 68"/>
                <a:gd name="T28" fmla="*/ 2147483646 w 68"/>
                <a:gd name="T29" fmla="*/ 2147483646 h 68"/>
                <a:gd name="T30" fmla="*/ 2147483646 w 68"/>
                <a:gd name="T31" fmla="*/ 0 h 68"/>
                <a:gd name="T32" fmla="*/ 2147483646 w 68"/>
                <a:gd name="T33" fmla="*/ 2147483646 h 68"/>
                <a:gd name="T34" fmla="*/ 2147483646 w 68"/>
                <a:gd name="T35" fmla="*/ 2147483646 h 68"/>
                <a:gd name="T36" fmla="*/ 2147483646 w 68"/>
                <a:gd name="T37" fmla="*/ 2147483646 h 68"/>
                <a:gd name="T38" fmla="*/ 2147483646 w 68"/>
                <a:gd name="T39" fmla="*/ 2147483646 h 68"/>
                <a:gd name="T40" fmla="*/ 2147483646 w 68"/>
                <a:gd name="T41" fmla="*/ 2147483646 h 68"/>
                <a:gd name="T42" fmla="*/ 2147483646 w 68"/>
                <a:gd name="T43" fmla="*/ 2147483646 h 68"/>
                <a:gd name="T44" fmla="*/ 2147483646 w 68"/>
                <a:gd name="T45" fmla="*/ 2147483646 h 68"/>
                <a:gd name="T46" fmla="*/ 2147483646 w 68"/>
                <a:gd name="T47" fmla="*/ 2147483646 h 68"/>
                <a:gd name="T48" fmla="*/ 2147483646 w 68"/>
                <a:gd name="T49" fmla="*/ 2147483646 h 68"/>
                <a:gd name="T50" fmla="*/ 2147483646 w 68"/>
                <a:gd name="T51" fmla="*/ 2147483646 h 68"/>
                <a:gd name="T52" fmla="*/ 0 w 68"/>
                <a:gd name="T53" fmla="*/ 2147483646 h 68"/>
                <a:gd name="T54" fmla="*/ 0 w 68"/>
                <a:gd name="T55" fmla="*/ 2147483646 h 68"/>
                <a:gd name="T56" fmla="*/ 2147483646 w 68"/>
                <a:gd name="T57" fmla="*/ 2147483646 h 68"/>
                <a:gd name="T58" fmla="*/ 2147483646 w 68"/>
                <a:gd name="T59" fmla="*/ 2147483646 h 68"/>
                <a:gd name="T60" fmla="*/ 2147483646 w 68"/>
                <a:gd name="T61" fmla="*/ 0 h 68"/>
                <a:gd name="T62" fmla="*/ 2147483646 w 68"/>
                <a:gd name="T63" fmla="*/ 0 h 6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8"/>
                <a:gd name="T97" fmla="*/ 0 h 68"/>
                <a:gd name="T98" fmla="*/ 68 w 68"/>
                <a:gd name="T99" fmla="*/ 68 h 6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8" h="68">
                  <a:moveTo>
                    <a:pt x="34" y="12"/>
                  </a:moveTo>
                  <a:lnTo>
                    <a:pt x="27" y="12"/>
                  </a:lnTo>
                  <a:lnTo>
                    <a:pt x="18" y="19"/>
                  </a:lnTo>
                  <a:lnTo>
                    <a:pt x="12" y="28"/>
                  </a:lnTo>
                  <a:lnTo>
                    <a:pt x="12" y="39"/>
                  </a:lnTo>
                  <a:lnTo>
                    <a:pt x="17" y="49"/>
                  </a:lnTo>
                  <a:lnTo>
                    <a:pt x="24" y="54"/>
                  </a:lnTo>
                  <a:lnTo>
                    <a:pt x="34" y="57"/>
                  </a:lnTo>
                  <a:lnTo>
                    <a:pt x="39" y="57"/>
                  </a:lnTo>
                  <a:lnTo>
                    <a:pt x="50" y="50"/>
                  </a:lnTo>
                  <a:lnTo>
                    <a:pt x="55" y="41"/>
                  </a:lnTo>
                  <a:lnTo>
                    <a:pt x="55" y="29"/>
                  </a:lnTo>
                  <a:lnTo>
                    <a:pt x="51" y="20"/>
                  </a:lnTo>
                  <a:lnTo>
                    <a:pt x="43" y="13"/>
                  </a:lnTo>
                  <a:lnTo>
                    <a:pt x="34" y="12"/>
                  </a:lnTo>
                  <a:close/>
                  <a:moveTo>
                    <a:pt x="34" y="0"/>
                  </a:moveTo>
                  <a:lnTo>
                    <a:pt x="48" y="3"/>
                  </a:lnTo>
                  <a:lnTo>
                    <a:pt x="60" y="12"/>
                  </a:lnTo>
                  <a:lnTo>
                    <a:pt x="67" y="25"/>
                  </a:lnTo>
                  <a:lnTo>
                    <a:pt x="68" y="39"/>
                  </a:lnTo>
                  <a:lnTo>
                    <a:pt x="63" y="51"/>
                  </a:lnTo>
                  <a:lnTo>
                    <a:pt x="55" y="62"/>
                  </a:lnTo>
                  <a:lnTo>
                    <a:pt x="42" y="67"/>
                  </a:lnTo>
                  <a:lnTo>
                    <a:pt x="34" y="68"/>
                  </a:lnTo>
                  <a:lnTo>
                    <a:pt x="18" y="66"/>
                  </a:lnTo>
                  <a:lnTo>
                    <a:pt x="7" y="57"/>
                  </a:lnTo>
                  <a:lnTo>
                    <a:pt x="0" y="43"/>
                  </a:lnTo>
                  <a:lnTo>
                    <a:pt x="0" y="29"/>
                  </a:lnTo>
                  <a:lnTo>
                    <a:pt x="4" y="17"/>
                  </a:lnTo>
                  <a:lnTo>
                    <a:pt x="13" y="7"/>
                  </a:lnTo>
                  <a:lnTo>
                    <a:pt x="25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4C4C4C"/>
            </a:solidFill>
            <a:ln w="0">
              <a:solidFill>
                <a:srgbClr val="4C4C4C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2" name="Freeform 3150">
              <a:extLst>
                <a:ext uri="{FF2B5EF4-FFF2-40B4-BE49-F238E27FC236}">
                  <a16:creationId xmlns:a16="http://schemas.microsoft.com/office/drawing/2014/main" id="{F4CE81D2-1036-4FE2-A477-A5357155F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4538" y="2110084"/>
              <a:ext cx="51184" cy="53565"/>
            </a:xfrm>
            <a:custGeom>
              <a:avLst/>
              <a:gdLst>
                <a:gd name="T0" fmla="*/ 2147483646 w 43"/>
                <a:gd name="T1" fmla="*/ 0 h 45"/>
                <a:gd name="T2" fmla="*/ 2147483646 w 43"/>
                <a:gd name="T3" fmla="*/ 2147483646 h 45"/>
                <a:gd name="T4" fmla="*/ 2147483646 w 43"/>
                <a:gd name="T5" fmla="*/ 2147483646 h 45"/>
                <a:gd name="T6" fmla="*/ 2147483646 w 43"/>
                <a:gd name="T7" fmla="*/ 2147483646 h 45"/>
                <a:gd name="T8" fmla="*/ 2147483646 w 43"/>
                <a:gd name="T9" fmla="*/ 2147483646 h 45"/>
                <a:gd name="T10" fmla="*/ 2147483646 w 43"/>
                <a:gd name="T11" fmla="*/ 2147483646 h 45"/>
                <a:gd name="T12" fmla="*/ 2147483646 w 43"/>
                <a:gd name="T13" fmla="*/ 2147483646 h 45"/>
                <a:gd name="T14" fmla="*/ 2147483646 w 43"/>
                <a:gd name="T15" fmla="*/ 2147483646 h 45"/>
                <a:gd name="T16" fmla="*/ 2147483646 w 43"/>
                <a:gd name="T17" fmla="*/ 2147483646 h 45"/>
                <a:gd name="T18" fmla="*/ 2147483646 w 43"/>
                <a:gd name="T19" fmla="*/ 2147483646 h 45"/>
                <a:gd name="T20" fmla="*/ 0 w 43"/>
                <a:gd name="T21" fmla="*/ 2147483646 h 45"/>
                <a:gd name="T22" fmla="*/ 0 w 43"/>
                <a:gd name="T23" fmla="*/ 2147483646 h 45"/>
                <a:gd name="T24" fmla="*/ 2147483646 w 43"/>
                <a:gd name="T25" fmla="*/ 2147483646 h 45"/>
                <a:gd name="T26" fmla="*/ 2147483646 w 43"/>
                <a:gd name="T27" fmla="*/ 0 h 45"/>
                <a:gd name="T28" fmla="*/ 2147483646 w 43"/>
                <a:gd name="T29" fmla="*/ 0 h 4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3"/>
                <a:gd name="T46" fmla="*/ 0 h 45"/>
                <a:gd name="T47" fmla="*/ 43 w 43"/>
                <a:gd name="T48" fmla="*/ 45 h 4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3" h="45">
                  <a:moveTo>
                    <a:pt x="22" y="0"/>
                  </a:moveTo>
                  <a:lnTo>
                    <a:pt x="31" y="1"/>
                  </a:lnTo>
                  <a:lnTo>
                    <a:pt x="39" y="8"/>
                  </a:lnTo>
                  <a:lnTo>
                    <a:pt x="43" y="17"/>
                  </a:lnTo>
                  <a:lnTo>
                    <a:pt x="43" y="29"/>
                  </a:lnTo>
                  <a:lnTo>
                    <a:pt x="38" y="38"/>
                  </a:lnTo>
                  <a:lnTo>
                    <a:pt x="27" y="45"/>
                  </a:lnTo>
                  <a:lnTo>
                    <a:pt x="22" y="45"/>
                  </a:lnTo>
                  <a:lnTo>
                    <a:pt x="12" y="42"/>
                  </a:lnTo>
                  <a:lnTo>
                    <a:pt x="5" y="37"/>
                  </a:lnTo>
                  <a:lnTo>
                    <a:pt x="0" y="27"/>
                  </a:lnTo>
                  <a:lnTo>
                    <a:pt x="0" y="16"/>
                  </a:lnTo>
                  <a:lnTo>
                    <a:pt x="6" y="7"/>
                  </a:lnTo>
                  <a:lnTo>
                    <a:pt x="15" y="0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333333"/>
            </a:solidFill>
            <a:ln w="0">
              <a:solidFill>
                <a:srgbClr val="333333"/>
              </a:solidFill>
              <a:round/>
              <a:headEnd/>
              <a:tailEnd/>
            </a:ln>
          </p:spPr>
          <p:txBody>
            <a:bodyPr/>
            <a:lstStyle/>
            <a:p>
              <a:endParaRPr lang="es-ES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5066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upo 34">
            <a:extLst>
              <a:ext uri="{FF2B5EF4-FFF2-40B4-BE49-F238E27FC236}">
                <a16:creationId xmlns:a16="http://schemas.microsoft.com/office/drawing/2014/main" id="{478416AA-EE7B-4F15-9454-24F9B73B16AF}"/>
              </a:ext>
            </a:extLst>
          </p:cNvPr>
          <p:cNvGrpSpPr/>
          <p:nvPr/>
        </p:nvGrpSpPr>
        <p:grpSpPr>
          <a:xfrm>
            <a:off x="400915" y="1355536"/>
            <a:ext cx="11153773" cy="4699866"/>
            <a:chOff x="1952626" y="1643063"/>
            <a:chExt cx="8358187" cy="3900125"/>
          </a:xfrm>
        </p:grpSpPr>
        <p:sp>
          <p:nvSpPr>
            <p:cNvPr id="36" name="107 Trapecio">
              <a:extLst>
                <a:ext uri="{FF2B5EF4-FFF2-40B4-BE49-F238E27FC236}">
                  <a16:creationId xmlns:a16="http://schemas.microsoft.com/office/drawing/2014/main" id="{08674DAE-A89E-4CF3-BDF9-AD43F09ED1B4}"/>
                </a:ext>
              </a:extLst>
            </p:cNvPr>
            <p:cNvSpPr/>
            <p:nvPr/>
          </p:nvSpPr>
          <p:spPr>
            <a:xfrm rot="10800000">
              <a:off x="7970838" y="1646238"/>
              <a:ext cx="2339975" cy="3896950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7" name="105 Trapecio">
              <a:extLst>
                <a:ext uri="{FF2B5EF4-FFF2-40B4-BE49-F238E27FC236}">
                  <a16:creationId xmlns:a16="http://schemas.microsoft.com/office/drawing/2014/main" id="{2803C176-A306-4C85-BF47-38E526DCCFCC}"/>
                </a:ext>
              </a:extLst>
            </p:cNvPr>
            <p:cNvSpPr/>
            <p:nvPr/>
          </p:nvSpPr>
          <p:spPr>
            <a:xfrm>
              <a:off x="5970589" y="1643063"/>
              <a:ext cx="2339975" cy="3900125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8" name="104 Trapecio">
              <a:extLst>
                <a:ext uri="{FF2B5EF4-FFF2-40B4-BE49-F238E27FC236}">
                  <a16:creationId xmlns:a16="http://schemas.microsoft.com/office/drawing/2014/main" id="{65104E4C-CA24-44B8-AD4D-8B5E436644E9}"/>
                </a:ext>
              </a:extLst>
            </p:cNvPr>
            <p:cNvSpPr/>
            <p:nvPr/>
          </p:nvSpPr>
          <p:spPr>
            <a:xfrm rot="10800000">
              <a:off x="3970338" y="1646238"/>
              <a:ext cx="2339975" cy="3864888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9" name="103 Trapecio">
              <a:extLst>
                <a:ext uri="{FF2B5EF4-FFF2-40B4-BE49-F238E27FC236}">
                  <a16:creationId xmlns:a16="http://schemas.microsoft.com/office/drawing/2014/main" id="{4971B0AA-2B81-4741-8BBC-B2D7EB0DF7E0}"/>
                </a:ext>
              </a:extLst>
            </p:cNvPr>
            <p:cNvSpPr/>
            <p:nvPr/>
          </p:nvSpPr>
          <p:spPr>
            <a:xfrm>
              <a:off x="1952626" y="1643063"/>
              <a:ext cx="2339975" cy="3868063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grpSp>
          <p:nvGrpSpPr>
            <p:cNvPr id="40" name="Grupo 1">
              <a:extLst>
                <a:ext uri="{FF2B5EF4-FFF2-40B4-BE49-F238E27FC236}">
                  <a16:creationId xmlns:a16="http://schemas.microsoft.com/office/drawing/2014/main" id="{6AF6FF8B-7F6E-4314-91E9-4EF0A02AD0EC}"/>
                </a:ext>
              </a:extLst>
            </p:cNvPr>
            <p:cNvGrpSpPr>
              <a:grpSpLocks/>
            </p:cNvGrpSpPr>
            <p:nvPr/>
          </p:nvGrpSpPr>
          <p:grpSpPr bwMode="auto">
            <a:xfrm rot="307171">
              <a:off x="2245926" y="2674125"/>
              <a:ext cx="7847871" cy="2062156"/>
              <a:chOff x="618145" y="2465599"/>
              <a:chExt cx="7848536" cy="2061983"/>
            </a:xfrm>
          </p:grpSpPr>
          <p:sp>
            <p:nvSpPr>
              <p:cNvPr id="41" name="Freeform 241">
                <a:extLst>
                  <a:ext uri="{FF2B5EF4-FFF2-40B4-BE49-F238E27FC236}">
                    <a16:creationId xmlns:a16="http://schemas.microsoft.com/office/drawing/2014/main" id="{52AEA754-6C58-4ABB-91F5-8E7D203CF8B8}"/>
                  </a:ext>
                </a:extLst>
              </p:cNvPr>
              <p:cNvSpPr>
                <a:spLocks/>
              </p:cNvSpPr>
              <p:nvPr/>
            </p:nvSpPr>
            <p:spPr bwMode="auto">
              <a:xfrm rot="3227663">
                <a:off x="880244" y="2646016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A10F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241">
                <a:extLst>
                  <a:ext uri="{FF2B5EF4-FFF2-40B4-BE49-F238E27FC236}">
                    <a16:creationId xmlns:a16="http://schemas.microsoft.com/office/drawing/2014/main" id="{5256108D-3E8E-48BF-974F-EA94B9773B79}"/>
                  </a:ext>
                </a:extLst>
              </p:cNvPr>
              <p:cNvSpPr>
                <a:spLocks/>
              </p:cNvSpPr>
              <p:nvPr/>
            </p:nvSpPr>
            <p:spPr bwMode="auto">
              <a:xfrm rot="3400525">
                <a:off x="4672020" y="2203500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241">
                <a:extLst>
                  <a:ext uri="{FF2B5EF4-FFF2-40B4-BE49-F238E27FC236}">
                    <a16:creationId xmlns:a16="http://schemas.microsoft.com/office/drawing/2014/main" id="{229F73BB-E848-4A5F-A844-CDE2ADB45D0C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2792533" y="2619858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A10F3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241">
                <a:extLst>
                  <a:ext uri="{FF2B5EF4-FFF2-40B4-BE49-F238E27FC236}">
                    <a16:creationId xmlns:a16="http://schemas.microsoft.com/office/drawing/2014/main" id="{E4FE465A-7868-4632-8350-955251B4E737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6585115" y="2229055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4472C4">
                  <a:lumMod val="75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6" name="Rectángulo 45">
            <a:extLst>
              <a:ext uri="{FF2B5EF4-FFF2-40B4-BE49-F238E27FC236}">
                <a16:creationId xmlns:a16="http://schemas.microsoft.com/office/drawing/2014/main" id="{4221593A-321A-4DD6-BB69-D48F5EEF90D9}"/>
              </a:ext>
            </a:extLst>
          </p:cNvPr>
          <p:cNvSpPr/>
          <p:nvPr/>
        </p:nvSpPr>
        <p:spPr>
          <a:xfrm>
            <a:off x="795111" y="1895968"/>
            <a:ext cx="2423611" cy="821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CO" sz="11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Vincular mano de obra </a:t>
            </a:r>
            <a:r>
              <a:rPr lang="es-CO" sz="1100" dirty="0">
                <a:solidFill>
                  <a:srgbClr val="010407"/>
                </a:solidFill>
                <a:latin typeface="Century Gothic" panose="020B0502020202020204" pitchFamily="34" charset="0"/>
              </a:rPr>
              <a:t>de las comunidades de la zona de influencia de los proyectos. </a:t>
            </a:r>
          </a:p>
          <a:p>
            <a:pPr algn="ctr">
              <a:lnSpc>
                <a:spcPct val="110000"/>
              </a:lnSpc>
            </a:pPr>
            <a:endParaRPr lang="es-CO" sz="1100" dirty="0">
              <a:solidFill>
                <a:srgbClr val="010407"/>
              </a:solidFill>
              <a:latin typeface="Century Gothic" panose="020B0502020202020204" pitchFamily="34" charset="0"/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ABD5C628-54C4-4574-BE04-E922181E6A83}"/>
              </a:ext>
            </a:extLst>
          </p:cNvPr>
          <p:cNvSpPr txBox="1"/>
          <p:nvPr/>
        </p:nvSpPr>
        <p:spPr>
          <a:xfrm>
            <a:off x="918673" y="1373800"/>
            <a:ext cx="2076748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1300" b="1" dirty="0">
                <a:solidFill>
                  <a:prstClr val="white"/>
                </a:solidFill>
                <a:latin typeface="Century Gothic" panose="020B0502020202020204" pitchFamily="34" charset="0"/>
              </a:rPr>
              <a:t>DERECHO AL TRABAJO</a:t>
            </a:r>
          </a:p>
        </p:txBody>
      </p:sp>
      <p:pic>
        <p:nvPicPr>
          <p:cNvPr id="49" name="Imagen 48">
            <a:extLst>
              <a:ext uri="{FF2B5EF4-FFF2-40B4-BE49-F238E27FC236}">
                <a16:creationId xmlns:a16="http://schemas.microsoft.com/office/drawing/2014/main" id="{64AA7C18-7107-4A83-B95A-8FB3CAD043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433" y="2665040"/>
            <a:ext cx="1136773" cy="1136773"/>
          </a:xfrm>
          <a:prstGeom prst="rect">
            <a:avLst/>
          </a:prstGeom>
        </p:spPr>
      </p:pic>
      <p:sp>
        <p:nvSpPr>
          <p:cNvPr id="50" name="Rectángulo 49">
            <a:extLst>
              <a:ext uri="{FF2B5EF4-FFF2-40B4-BE49-F238E27FC236}">
                <a16:creationId xmlns:a16="http://schemas.microsoft.com/office/drawing/2014/main" id="{7A3ADA4A-E4F2-4FF6-9F7B-BB2722EA87A2}"/>
              </a:ext>
            </a:extLst>
          </p:cNvPr>
          <p:cNvSpPr/>
          <p:nvPr/>
        </p:nvSpPr>
        <p:spPr>
          <a:xfrm>
            <a:off x="3115773" y="1935729"/>
            <a:ext cx="2966335" cy="4493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CO" sz="11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Promover</a:t>
            </a:r>
            <a:r>
              <a:rPr lang="es-CO" sz="1100" dirty="0">
                <a:solidFill>
                  <a:srgbClr val="010407"/>
                </a:solidFill>
                <a:latin typeface="Century Gothic" panose="020B0502020202020204" pitchFamily="34" charset="0"/>
              </a:rPr>
              <a:t> el desarrollo de </a:t>
            </a:r>
            <a:r>
              <a:rPr lang="es-CO" sz="1100" b="1" dirty="0">
                <a:solidFill>
                  <a:srgbClr val="010407"/>
                </a:solidFill>
                <a:latin typeface="Century Gothic" panose="020B0502020202020204" pitchFamily="34" charset="0"/>
              </a:rPr>
              <a:t>iniciativas y/o proyectos productivos</a:t>
            </a:r>
            <a:r>
              <a:rPr lang="es-CO" sz="1100" dirty="0">
                <a:solidFill>
                  <a:srgbClr val="010407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52" name="CuadroTexto 51">
            <a:extLst>
              <a:ext uri="{FF2B5EF4-FFF2-40B4-BE49-F238E27FC236}">
                <a16:creationId xmlns:a16="http://schemas.microsoft.com/office/drawing/2014/main" id="{45BA73D1-E290-46EE-A158-33E34211E091}"/>
              </a:ext>
            </a:extLst>
          </p:cNvPr>
          <p:cNvSpPr txBox="1"/>
          <p:nvPr/>
        </p:nvSpPr>
        <p:spPr>
          <a:xfrm>
            <a:off x="3099880" y="1361587"/>
            <a:ext cx="3100045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DERECHO AL TRABAJO</a:t>
            </a: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FAE5E3B5-0991-4514-BC23-C403EB56874F}"/>
              </a:ext>
            </a:extLst>
          </p:cNvPr>
          <p:cNvSpPr/>
          <p:nvPr/>
        </p:nvSpPr>
        <p:spPr>
          <a:xfrm>
            <a:off x="8453954" y="1789966"/>
            <a:ext cx="2969600" cy="821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CO" sz="1100" dirty="0">
                <a:solidFill>
                  <a:prstClr val="black"/>
                </a:solidFill>
                <a:latin typeface="Century Gothic" panose="020B0502020202020204" pitchFamily="34" charset="0"/>
              </a:rPr>
              <a:t>Promover, respetar y </a:t>
            </a:r>
            <a:r>
              <a:rPr lang="es-CO" sz="1100" b="1" dirty="0">
                <a:solidFill>
                  <a:prstClr val="black"/>
                </a:solidFill>
                <a:latin typeface="Century Gothic" panose="020B0502020202020204" pitchFamily="34" charset="0"/>
              </a:rPr>
              <a:t>garantizar el derecho a la Consulta Previa de las </a:t>
            </a:r>
            <a:r>
              <a:rPr lang="es-CO" sz="1100" dirty="0">
                <a:solidFill>
                  <a:prstClr val="black"/>
                </a:solidFill>
                <a:latin typeface="Century Gothic" panose="020B0502020202020204" pitchFamily="34" charset="0"/>
              </a:rPr>
              <a:t>comunidades étnicas localizadas en la zona de los proyectos</a:t>
            </a:r>
          </a:p>
        </p:txBody>
      </p:sp>
      <p:sp>
        <p:nvSpPr>
          <p:cNvPr id="54" name="CuadroTexto 53">
            <a:extLst>
              <a:ext uri="{FF2B5EF4-FFF2-40B4-BE49-F238E27FC236}">
                <a16:creationId xmlns:a16="http://schemas.microsoft.com/office/drawing/2014/main" id="{215080A5-3A81-433C-9AFF-B8A6F66B8C9F}"/>
              </a:ext>
            </a:extLst>
          </p:cNvPr>
          <p:cNvSpPr txBox="1"/>
          <p:nvPr/>
        </p:nvSpPr>
        <p:spPr>
          <a:xfrm>
            <a:off x="8460078" y="1359272"/>
            <a:ext cx="3094609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DERECHO A LA CONSULTA PREVIA</a:t>
            </a:r>
          </a:p>
        </p:txBody>
      </p:sp>
      <p:pic>
        <p:nvPicPr>
          <p:cNvPr id="55" name="Imagen 54">
            <a:extLst>
              <a:ext uri="{FF2B5EF4-FFF2-40B4-BE49-F238E27FC236}">
                <a16:creationId xmlns:a16="http://schemas.microsoft.com/office/drawing/2014/main" id="{8445136E-7F4D-4F9B-BBB2-FBDC781935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33537" y="2693371"/>
            <a:ext cx="1087407" cy="1087407"/>
          </a:xfrm>
          <a:prstGeom prst="rect">
            <a:avLst/>
          </a:prstGeom>
        </p:spPr>
      </p:pic>
      <p:pic>
        <p:nvPicPr>
          <p:cNvPr id="56" name="Imagen 55">
            <a:extLst>
              <a:ext uri="{FF2B5EF4-FFF2-40B4-BE49-F238E27FC236}">
                <a16:creationId xmlns:a16="http://schemas.microsoft.com/office/drawing/2014/main" id="{2F5368CB-930A-4CD9-9D10-B0FF3747D5A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1324" y="3862016"/>
            <a:ext cx="1054092" cy="1054092"/>
          </a:xfrm>
          <a:prstGeom prst="rect">
            <a:avLst/>
          </a:prstGeom>
        </p:spPr>
      </p:pic>
      <p:sp>
        <p:nvSpPr>
          <p:cNvPr id="57" name="Rectángulo 56">
            <a:extLst>
              <a:ext uri="{FF2B5EF4-FFF2-40B4-BE49-F238E27FC236}">
                <a16:creationId xmlns:a16="http://schemas.microsoft.com/office/drawing/2014/main" id="{28F1B8F1-789D-4C8D-9B05-7AB319506EB8}"/>
              </a:ext>
            </a:extLst>
          </p:cNvPr>
          <p:cNvSpPr/>
          <p:nvPr/>
        </p:nvSpPr>
        <p:spPr>
          <a:xfrm>
            <a:off x="6029303" y="1810647"/>
            <a:ext cx="2530917" cy="1008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CO" sz="1100" dirty="0">
                <a:solidFill>
                  <a:prstClr val="black"/>
                </a:solidFill>
                <a:latin typeface="Century Gothic" panose="020B0502020202020204" pitchFamily="34" charset="0"/>
              </a:rPr>
              <a:t>Implementar acciones pedagógicas que contribuyan al </a:t>
            </a:r>
            <a:r>
              <a:rPr lang="es-CO" sz="1100" b="1" dirty="0">
                <a:solidFill>
                  <a:prstClr val="black"/>
                </a:solidFill>
                <a:latin typeface="Century Gothic" panose="020B0502020202020204" pitchFamily="34" charset="0"/>
              </a:rPr>
              <a:t>uso adecuado de la infraestructura  </a:t>
            </a:r>
            <a:r>
              <a:rPr lang="es-CO" sz="1100" dirty="0">
                <a:solidFill>
                  <a:prstClr val="black"/>
                </a:solidFill>
                <a:latin typeface="Century Gothic" panose="020B0502020202020204" pitchFamily="34" charset="0"/>
              </a:rPr>
              <a:t>para la prevención de accidentes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5AB5CB09-A6C0-4B51-B36A-27AED6F50006}"/>
              </a:ext>
            </a:extLst>
          </p:cNvPr>
          <p:cNvSpPr txBox="1"/>
          <p:nvPr/>
        </p:nvSpPr>
        <p:spPr>
          <a:xfrm>
            <a:off x="6256485" y="1359272"/>
            <a:ext cx="2125515" cy="292388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DERECHO A LA VIDA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78B5190-774F-434E-ABC0-077D506920BB}"/>
              </a:ext>
            </a:extLst>
          </p:cNvPr>
          <p:cNvSpPr/>
          <p:nvPr/>
        </p:nvSpPr>
        <p:spPr>
          <a:xfrm>
            <a:off x="5926655" y="5116682"/>
            <a:ext cx="2866715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ás de </a:t>
            </a:r>
            <a:r>
              <a:rPr lang="es-CO" sz="11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20 campañas de cultura vial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y </a:t>
            </a:r>
            <a:r>
              <a:rPr lang="es-CO" sz="11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264 actividades pedagógicas de formación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que han impactado significativamente en </a:t>
            </a:r>
            <a:r>
              <a:rPr lang="es-CO" sz="11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44,000 personas. </a:t>
            </a:r>
            <a:endParaRPr lang="en-US" sz="11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78133051-A36F-4BBF-A062-5E038B5ABFCB}"/>
              </a:ext>
            </a:extLst>
          </p:cNvPr>
          <p:cNvSpPr/>
          <p:nvPr/>
        </p:nvSpPr>
        <p:spPr>
          <a:xfrm>
            <a:off x="8810080" y="5070262"/>
            <a:ext cx="230604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De los 29 proyectos 4G, 9 han requerido 39 consultas previas.</a:t>
            </a:r>
          </a:p>
          <a:p>
            <a:pPr algn="ctr" defTabSz="1219170">
              <a:buClr>
                <a:srgbClr val="000000"/>
              </a:buClr>
            </a:pP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ctualmente se tiene un</a:t>
            </a:r>
            <a:r>
              <a:rPr lang="es-CO" sz="11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92.4% de avance </a:t>
            </a:r>
            <a:endParaRPr lang="en-US" sz="11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62" name="Imagen 61">
            <a:extLst>
              <a:ext uri="{FF2B5EF4-FFF2-40B4-BE49-F238E27FC236}">
                <a16:creationId xmlns:a16="http://schemas.microsoft.com/office/drawing/2014/main" id="{7882BDF9-C7AB-4FB0-AA27-57A4C3193A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9998" y="3974971"/>
            <a:ext cx="1136773" cy="1136773"/>
          </a:xfrm>
          <a:prstGeom prst="rect">
            <a:avLst/>
          </a:prstGeom>
        </p:spPr>
      </p:pic>
      <p:sp>
        <p:nvSpPr>
          <p:cNvPr id="63" name="Rectángulo 62">
            <a:extLst>
              <a:ext uri="{FF2B5EF4-FFF2-40B4-BE49-F238E27FC236}">
                <a16:creationId xmlns:a16="http://schemas.microsoft.com/office/drawing/2014/main" id="{213BFBF6-4BA1-4FE6-AEAF-E2819B7A6528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64" name="Rectángulo 63">
            <a:extLst>
              <a:ext uri="{FF2B5EF4-FFF2-40B4-BE49-F238E27FC236}">
                <a16:creationId xmlns:a16="http://schemas.microsoft.com/office/drawing/2014/main" id="{95E7E2D4-9CE5-4E07-8A52-082890C23C2E}"/>
              </a:ext>
            </a:extLst>
          </p:cNvPr>
          <p:cNvSpPr/>
          <p:nvPr/>
        </p:nvSpPr>
        <p:spPr>
          <a:xfrm>
            <a:off x="875783" y="5193800"/>
            <a:ext cx="2534101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52.421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mpleos generados en 4G</a:t>
            </a:r>
          </a:p>
          <a:p>
            <a:pPr algn="ctr"/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108.953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mpleos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n total de todos los modos</a:t>
            </a:r>
          </a:p>
        </p:txBody>
      </p:sp>
      <p:sp>
        <p:nvSpPr>
          <p:cNvPr id="65" name="Rectángulo 64">
            <a:extLst>
              <a:ext uri="{FF2B5EF4-FFF2-40B4-BE49-F238E27FC236}">
                <a16:creationId xmlns:a16="http://schemas.microsoft.com/office/drawing/2014/main" id="{A4EF3029-83EE-454E-A14D-A717A5C5C611}"/>
              </a:ext>
            </a:extLst>
          </p:cNvPr>
          <p:cNvSpPr/>
          <p:nvPr/>
        </p:nvSpPr>
        <p:spPr>
          <a:xfrm>
            <a:off x="3457333" y="5029580"/>
            <a:ext cx="2348356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193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iniciativas y/o proyectos productivos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n 4G </a:t>
            </a:r>
            <a:endParaRPr lang="es-CO" sz="105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</a:endParaRPr>
          </a:p>
          <a:p>
            <a:pPr algn="ctr"/>
            <a:r>
              <a:rPr lang="es-CO" sz="11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Inversión superior a los $580 millones</a:t>
            </a:r>
          </a:p>
        </p:txBody>
      </p:sp>
    </p:spTree>
    <p:extLst>
      <p:ext uri="{BB962C8B-B14F-4D97-AF65-F5344CB8AC3E}">
        <p14:creationId xmlns:p14="http://schemas.microsoft.com/office/powerpoint/2010/main" val="42653789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upo 34">
            <a:extLst>
              <a:ext uri="{FF2B5EF4-FFF2-40B4-BE49-F238E27FC236}">
                <a16:creationId xmlns:a16="http://schemas.microsoft.com/office/drawing/2014/main" id="{478416AA-EE7B-4F15-9454-24F9B73B16AF}"/>
              </a:ext>
            </a:extLst>
          </p:cNvPr>
          <p:cNvGrpSpPr/>
          <p:nvPr/>
        </p:nvGrpSpPr>
        <p:grpSpPr>
          <a:xfrm>
            <a:off x="400915" y="1347629"/>
            <a:ext cx="11153773" cy="4600867"/>
            <a:chOff x="1952626" y="1643063"/>
            <a:chExt cx="8358187" cy="3900125"/>
          </a:xfrm>
        </p:grpSpPr>
        <p:sp>
          <p:nvSpPr>
            <p:cNvPr id="36" name="107 Trapecio">
              <a:extLst>
                <a:ext uri="{FF2B5EF4-FFF2-40B4-BE49-F238E27FC236}">
                  <a16:creationId xmlns:a16="http://schemas.microsoft.com/office/drawing/2014/main" id="{08674DAE-A89E-4CF3-BDF9-AD43F09ED1B4}"/>
                </a:ext>
              </a:extLst>
            </p:cNvPr>
            <p:cNvSpPr/>
            <p:nvPr/>
          </p:nvSpPr>
          <p:spPr>
            <a:xfrm rot="10800000">
              <a:off x="7970838" y="1646238"/>
              <a:ext cx="2339975" cy="3896950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7" name="105 Trapecio">
              <a:extLst>
                <a:ext uri="{FF2B5EF4-FFF2-40B4-BE49-F238E27FC236}">
                  <a16:creationId xmlns:a16="http://schemas.microsoft.com/office/drawing/2014/main" id="{2803C176-A306-4C85-BF47-38E526DCCFCC}"/>
                </a:ext>
              </a:extLst>
            </p:cNvPr>
            <p:cNvSpPr/>
            <p:nvPr/>
          </p:nvSpPr>
          <p:spPr>
            <a:xfrm>
              <a:off x="5970589" y="1643063"/>
              <a:ext cx="2339975" cy="3900125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8" name="104 Trapecio">
              <a:extLst>
                <a:ext uri="{FF2B5EF4-FFF2-40B4-BE49-F238E27FC236}">
                  <a16:creationId xmlns:a16="http://schemas.microsoft.com/office/drawing/2014/main" id="{65104E4C-CA24-44B8-AD4D-8B5E436644E9}"/>
                </a:ext>
              </a:extLst>
            </p:cNvPr>
            <p:cNvSpPr/>
            <p:nvPr/>
          </p:nvSpPr>
          <p:spPr>
            <a:xfrm rot="10800000">
              <a:off x="3970338" y="1646238"/>
              <a:ext cx="2339975" cy="3864888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sp>
          <p:nvSpPr>
            <p:cNvPr id="39" name="103 Trapecio">
              <a:extLst>
                <a:ext uri="{FF2B5EF4-FFF2-40B4-BE49-F238E27FC236}">
                  <a16:creationId xmlns:a16="http://schemas.microsoft.com/office/drawing/2014/main" id="{4971B0AA-2B81-4741-8BBC-B2D7EB0DF7E0}"/>
                </a:ext>
              </a:extLst>
            </p:cNvPr>
            <p:cNvSpPr/>
            <p:nvPr/>
          </p:nvSpPr>
          <p:spPr>
            <a:xfrm>
              <a:off x="1952626" y="1643063"/>
              <a:ext cx="2339975" cy="3868063"/>
            </a:xfrm>
            <a:prstGeom prst="trapezoid">
              <a:avLst>
                <a:gd name="adj" fmla="val 16607"/>
              </a:avLst>
            </a:prstGeom>
            <a:solidFill>
              <a:srgbClr val="E4E4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Thin"/>
                <a:ea typeface="+mn-ea"/>
                <a:cs typeface="+mn-cs"/>
              </a:endParaRPr>
            </a:p>
          </p:txBody>
        </p:sp>
        <p:grpSp>
          <p:nvGrpSpPr>
            <p:cNvPr id="40" name="Grupo 1">
              <a:extLst>
                <a:ext uri="{FF2B5EF4-FFF2-40B4-BE49-F238E27FC236}">
                  <a16:creationId xmlns:a16="http://schemas.microsoft.com/office/drawing/2014/main" id="{6AF6FF8B-7F6E-4314-91E9-4EF0A02AD0EC}"/>
                </a:ext>
              </a:extLst>
            </p:cNvPr>
            <p:cNvGrpSpPr>
              <a:grpSpLocks/>
            </p:cNvGrpSpPr>
            <p:nvPr/>
          </p:nvGrpSpPr>
          <p:grpSpPr bwMode="auto">
            <a:xfrm rot="307171">
              <a:off x="2245926" y="2674125"/>
              <a:ext cx="7847871" cy="2062156"/>
              <a:chOff x="618145" y="2465599"/>
              <a:chExt cx="7848536" cy="2061983"/>
            </a:xfrm>
          </p:grpSpPr>
          <p:sp>
            <p:nvSpPr>
              <p:cNvPr id="41" name="Freeform 241">
                <a:extLst>
                  <a:ext uri="{FF2B5EF4-FFF2-40B4-BE49-F238E27FC236}">
                    <a16:creationId xmlns:a16="http://schemas.microsoft.com/office/drawing/2014/main" id="{52AEA754-6C58-4ABB-91F5-8E7D203CF8B8}"/>
                  </a:ext>
                </a:extLst>
              </p:cNvPr>
              <p:cNvSpPr>
                <a:spLocks/>
              </p:cNvSpPr>
              <p:nvPr/>
            </p:nvSpPr>
            <p:spPr bwMode="auto">
              <a:xfrm rot="3227663">
                <a:off x="880244" y="2646016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241">
                <a:extLst>
                  <a:ext uri="{FF2B5EF4-FFF2-40B4-BE49-F238E27FC236}">
                    <a16:creationId xmlns:a16="http://schemas.microsoft.com/office/drawing/2014/main" id="{5256108D-3E8E-48BF-974F-EA94B9773B79}"/>
                  </a:ext>
                </a:extLst>
              </p:cNvPr>
              <p:cNvSpPr>
                <a:spLocks/>
              </p:cNvSpPr>
              <p:nvPr/>
            </p:nvSpPr>
            <p:spPr bwMode="auto">
              <a:xfrm rot="3400525">
                <a:off x="4672020" y="2203500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241">
                <a:extLst>
                  <a:ext uri="{FF2B5EF4-FFF2-40B4-BE49-F238E27FC236}">
                    <a16:creationId xmlns:a16="http://schemas.microsoft.com/office/drawing/2014/main" id="{229F73BB-E848-4A5F-A844-CDE2ADB45D0C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2792533" y="2619858"/>
                <a:ext cx="1619468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241">
                <a:extLst>
                  <a:ext uri="{FF2B5EF4-FFF2-40B4-BE49-F238E27FC236}">
                    <a16:creationId xmlns:a16="http://schemas.microsoft.com/office/drawing/2014/main" id="{E4FE465A-7868-4632-8350-955251B4E737}"/>
                  </a:ext>
                </a:extLst>
              </p:cNvPr>
              <p:cNvSpPr>
                <a:spLocks/>
              </p:cNvSpPr>
              <p:nvPr/>
            </p:nvSpPr>
            <p:spPr bwMode="auto">
              <a:xfrm rot="17536742" flipV="1">
                <a:off x="6585115" y="2229055"/>
                <a:ext cx="1619467" cy="2143665"/>
              </a:xfrm>
              <a:custGeom>
                <a:avLst/>
                <a:gdLst>
                  <a:gd name="T0" fmla="*/ 0 w 741"/>
                  <a:gd name="T1" fmla="*/ 2147483646 h 975"/>
                  <a:gd name="T2" fmla="*/ 2147483646 w 741"/>
                  <a:gd name="T3" fmla="*/ 2147483646 h 975"/>
                  <a:gd name="T4" fmla="*/ 2147483646 w 741"/>
                  <a:gd name="T5" fmla="*/ 2147483646 h 975"/>
                  <a:gd name="T6" fmla="*/ 2147483646 w 741"/>
                  <a:gd name="T7" fmla="*/ 2147483646 h 975"/>
                  <a:gd name="T8" fmla="*/ 2147483646 w 741"/>
                  <a:gd name="T9" fmla="*/ 2147483646 h 975"/>
                  <a:gd name="T10" fmla="*/ 2147483646 w 741"/>
                  <a:gd name="T11" fmla="*/ 2147483646 h 975"/>
                  <a:gd name="T12" fmla="*/ 2147483646 w 741"/>
                  <a:gd name="T13" fmla="*/ 2147483646 h 975"/>
                  <a:gd name="T14" fmla="*/ 2147483646 w 741"/>
                  <a:gd name="T15" fmla="*/ 2147483646 h 975"/>
                  <a:gd name="T16" fmla="*/ 2147483646 w 741"/>
                  <a:gd name="T17" fmla="*/ 2147483646 h 975"/>
                  <a:gd name="T18" fmla="*/ 2147483646 w 741"/>
                  <a:gd name="T19" fmla="*/ 2147483646 h 975"/>
                  <a:gd name="T20" fmla="*/ 2147483646 w 741"/>
                  <a:gd name="T21" fmla="*/ 2147483646 h 975"/>
                  <a:gd name="T22" fmla="*/ 2147483646 w 741"/>
                  <a:gd name="T23" fmla="*/ 2147483646 h 975"/>
                  <a:gd name="T24" fmla="*/ 2147483646 w 741"/>
                  <a:gd name="T25" fmla="*/ 2147483646 h 975"/>
                  <a:gd name="T26" fmla="*/ 2147483646 w 741"/>
                  <a:gd name="T27" fmla="*/ 2147483646 h 975"/>
                  <a:gd name="T28" fmla="*/ 2147483646 w 741"/>
                  <a:gd name="T29" fmla="*/ 2147483646 h 975"/>
                  <a:gd name="T30" fmla="*/ 2147483646 w 741"/>
                  <a:gd name="T31" fmla="*/ 2147483646 h 975"/>
                  <a:gd name="T32" fmla="*/ 2147483646 w 741"/>
                  <a:gd name="T33" fmla="*/ 2147483646 h 975"/>
                  <a:gd name="T34" fmla="*/ 2147483646 w 741"/>
                  <a:gd name="T35" fmla="*/ 2147483646 h 975"/>
                  <a:gd name="T36" fmla="*/ 2147483646 w 741"/>
                  <a:gd name="T37" fmla="*/ 2147483646 h 975"/>
                  <a:gd name="T38" fmla="*/ 2147483646 w 741"/>
                  <a:gd name="T39" fmla="*/ 2147483646 h 975"/>
                  <a:gd name="T40" fmla="*/ 2147483646 w 741"/>
                  <a:gd name="T41" fmla="*/ 2147483646 h 975"/>
                  <a:gd name="T42" fmla="*/ 2147483646 w 741"/>
                  <a:gd name="T43" fmla="*/ 2147483646 h 975"/>
                  <a:gd name="T44" fmla="*/ 2147483646 w 741"/>
                  <a:gd name="T45" fmla="*/ 2147483646 h 975"/>
                  <a:gd name="T46" fmla="*/ 2147483646 w 741"/>
                  <a:gd name="T47" fmla="*/ 2147483646 h 975"/>
                  <a:gd name="T48" fmla="*/ 2147483646 w 741"/>
                  <a:gd name="T49" fmla="*/ 2147483646 h 975"/>
                  <a:gd name="T50" fmla="*/ 2147483646 w 741"/>
                  <a:gd name="T51" fmla="*/ 2147483646 h 975"/>
                  <a:gd name="T52" fmla="*/ 2147483646 w 741"/>
                  <a:gd name="T53" fmla="*/ 2147483646 h 975"/>
                  <a:gd name="T54" fmla="*/ 2147483646 w 741"/>
                  <a:gd name="T55" fmla="*/ 2147483646 h 975"/>
                  <a:gd name="T56" fmla="*/ 2147483646 w 741"/>
                  <a:gd name="T57" fmla="*/ 2147483646 h 975"/>
                  <a:gd name="T58" fmla="*/ 2147483646 w 741"/>
                  <a:gd name="T59" fmla="*/ 2147483646 h 975"/>
                  <a:gd name="T60" fmla="*/ 2147483646 w 741"/>
                  <a:gd name="T61" fmla="*/ 2147483646 h 975"/>
                  <a:gd name="T62" fmla="*/ 2147483646 w 741"/>
                  <a:gd name="T63" fmla="*/ 0 h 975"/>
                  <a:gd name="T64" fmla="*/ 2147483646 w 741"/>
                  <a:gd name="T65" fmla="*/ 2147483646 h 975"/>
                  <a:gd name="T66" fmla="*/ 2147483646 w 741"/>
                  <a:gd name="T67" fmla="*/ 2147483646 h 975"/>
                  <a:gd name="T68" fmla="*/ 2147483646 w 741"/>
                  <a:gd name="T69" fmla="*/ 2147483646 h 975"/>
                  <a:gd name="T70" fmla="*/ 2147483646 w 741"/>
                  <a:gd name="T71" fmla="*/ 2147483646 h 975"/>
                  <a:gd name="T72" fmla="*/ 2147483646 w 741"/>
                  <a:gd name="T73" fmla="*/ 2147483646 h 975"/>
                  <a:gd name="T74" fmla="*/ 2147483646 w 741"/>
                  <a:gd name="T75" fmla="*/ 2147483646 h 975"/>
                  <a:gd name="T76" fmla="*/ 2147483646 w 741"/>
                  <a:gd name="T77" fmla="*/ 2147483646 h 975"/>
                  <a:gd name="T78" fmla="*/ 2147483646 w 741"/>
                  <a:gd name="T79" fmla="*/ 2147483646 h 975"/>
                  <a:gd name="T80" fmla="*/ 2147483646 w 741"/>
                  <a:gd name="T81" fmla="*/ 2147483646 h 975"/>
                  <a:gd name="T82" fmla="*/ 2147483646 w 741"/>
                  <a:gd name="T83" fmla="*/ 2147483646 h 975"/>
                  <a:gd name="T84" fmla="*/ 2147483646 w 741"/>
                  <a:gd name="T85" fmla="*/ 2147483646 h 975"/>
                  <a:gd name="T86" fmla="*/ 2147483646 w 741"/>
                  <a:gd name="T87" fmla="*/ 2147483646 h 975"/>
                  <a:gd name="T88" fmla="*/ 2147483646 w 741"/>
                  <a:gd name="T89" fmla="*/ 2147483646 h 975"/>
                  <a:gd name="T90" fmla="*/ 2147483646 w 741"/>
                  <a:gd name="T91" fmla="*/ 2147483646 h 975"/>
                  <a:gd name="T92" fmla="*/ 2147483646 w 741"/>
                  <a:gd name="T93" fmla="*/ 2147483646 h 975"/>
                  <a:gd name="T94" fmla="*/ 0 w 741"/>
                  <a:gd name="T95" fmla="*/ 2147483646 h 975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1"/>
                  <a:gd name="T145" fmla="*/ 0 h 975"/>
                  <a:gd name="T146" fmla="*/ 741 w 741"/>
                  <a:gd name="T147" fmla="*/ 975 h 975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1" h="975">
                    <a:moveTo>
                      <a:pt x="0" y="637"/>
                    </a:moveTo>
                    <a:lnTo>
                      <a:pt x="0" y="637"/>
                    </a:lnTo>
                    <a:lnTo>
                      <a:pt x="0" y="660"/>
                    </a:lnTo>
                    <a:lnTo>
                      <a:pt x="1" y="684"/>
                    </a:lnTo>
                    <a:lnTo>
                      <a:pt x="4" y="706"/>
                    </a:lnTo>
                    <a:lnTo>
                      <a:pt x="6" y="729"/>
                    </a:lnTo>
                    <a:lnTo>
                      <a:pt x="10" y="751"/>
                    </a:lnTo>
                    <a:lnTo>
                      <a:pt x="14" y="773"/>
                    </a:lnTo>
                    <a:lnTo>
                      <a:pt x="19" y="795"/>
                    </a:lnTo>
                    <a:lnTo>
                      <a:pt x="26" y="816"/>
                    </a:lnTo>
                    <a:lnTo>
                      <a:pt x="32" y="837"/>
                    </a:lnTo>
                    <a:lnTo>
                      <a:pt x="40" y="857"/>
                    </a:lnTo>
                    <a:lnTo>
                      <a:pt x="57" y="899"/>
                    </a:lnTo>
                    <a:lnTo>
                      <a:pt x="76" y="938"/>
                    </a:lnTo>
                    <a:lnTo>
                      <a:pt x="98" y="975"/>
                    </a:lnTo>
                    <a:lnTo>
                      <a:pt x="123" y="779"/>
                    </a:lnTo>
                    <a:lnTo>
                      <a:pt x="284" y="809"/>
                    </a:lnTo>
                    <a:lnTo>
                      <a:pt x="275" y="790"/>
                    </a:lnTo>
                    <a:lnTo>
                      <a:pt x="267" y="769"/>
                    </a:lnTo>
                    <a:lnTo>
                      <a:pt x="260" y="748"/>
                    </a:lnTo>
                    <a:lnTo>
                      <a:pt x="255" y="728"/>
                    </a:lnTo>
                    <a:lnTo>
                      <a:pt x="250" y="706"/>
                    </a:lnTo>
                    <a:lnTo>
                      <a:pt x="247" y="682"/>
                    </a:lnTo>
                    <a:lnTo>
                      <a:pt x="245" y="660"/>
                    </a:lnTo>
                    <a:lnTo>
                      <a:pt x="245" y="637"/>
                    </a:lnTo>
                    <a:lnTo>
                      <a:pt x="245" y="617"/>
                    </a:lnTo>
                    <a:lnTo>
                      <a:pt x="246" y="599"/>
                    </a:lnTo>
                    <a:lnTo>
                      <a:pt x="249" y="580"/>
                    </a:lnTo>
                    <a:lnTo>
                      <a:pt x="251" y="562"/>
                    </a:lnTo>
                    <a:lnTo>
                      <a:pt x="255" y="544"/>
                    </a:lnTo>
                    <a:lnTo>
                      <a:pt x="260" y="527"/>
                    </a:lnTo>
                    <a:lnTo>
                      <a:pt x="266" y="509"/>
                    </a:lnTo>
                    <a:lnTo>
                      <a:pt x="272" y="492"/>
                    </a:lnTo>
                    <a:lnTo>
                      <a:pt x="279" y="475"/>
                    </a:lnTo>
                    <a:lnTo>
                      <a:pt x="286" y="459"/>
                    </a:lnTo>
                    <a:lnTo>
                      <a:pt x="295" y="444"/>
                    </a:lnTo>
                    <a:lnTo>
                      <a:pt x="305" y="428"/>
                    </a:lnTo>
                    <a:lnTo>
                      <a:pt x="315" y="413"/>
                    </a:lnTo>
                    <a:lnTo>
                      <a:pt x="325" y="398"/>
                    </a:lnTo>
                    <a:lnTo>
                      <a:pt x="337" y="384"/>
                    </a:lnTo>
                    <a:lnTo>
                      <a:pt x="349" y="371"/>
                    </a:lnTo>
                    <a:lnTo>
                      <a:pt x="360" y="358"/>
                    </a:lnTo>
                    <a:lnTo>
                      <a:pt x="373" y="346"/>
                    </a:lnTo>
                    <a:lnTo>
                      <a:pt x="387" y="335"/>
                    </a:lnTo>
                    <a:lnTo>
                      <a:pt x="400" y="323"/>
                    </a:lnTo>
                    <a:lnTo>
                      <a:pt x="416" y="313"/>
                    </a:lnTo>
                    <a:lnTo>
                      <a:pt x="430" y="302"/>
                    </a:lnTo>
                    <a:lnTo>
                      <a:pt x="446" y="293"/>
                    </a:lnTo>
                    <a:lnTo>
                      <a:pt x="463" y="286"/>
                    </a:lnTo>
                    <a:lnTo>
                      <a:pt x="478" y="278"/>
                    </a:lnTo>
                    <a:lnTo>
                      <a:pt x="495" y="270"/>
                    </a:lnTo>
                    <a:lnTo>
                      <a:pt x="512" y="263"/>
                    </a:lnTo>
                    <a:lnTo>
                      <a:pt x="530" y="258"/>
                    </a:lnTo>
                    <a:lnTo>
                      <a:pt x="548" y="253"/>
                    </a:lnTo>
                    <a:lnTo>
                      <a:pt x="566" y="249"/>
                    </a:lnTo>
                    <a:lnTo>
                      <a:pt x="585" y="247"/>
                    </a:lnTo>
                    <a:lnTo>
                      <a:pt x="603" y="244"/>
                    </a:lnTo>
                    <a:lnTo>
                      <a:pt x="607" y="241"/>
                    </a:lnTo>
                    <a:lnTo>
                      <a:pt x="605" y="241"/>
                    </a:lnTo>
                    <a:lnTo>
                      <a:pt x="741" y="125"/>
                    </a:lnTo>
                    <a:lnTo>
                      <a:pt x="621" y="0"/>
                    </a:lnTo>
                    <a:lnTo>
                      <a:pt x="588" y="3"/>
                    </a:lnTo>
                    <a:lnTo>
                      <a:pt x="556" y="5"/>
                    </a:lnTo>
                    <a:lnTo>
                      <a:pt x="525" y="11"/>
                    </a:lnTo>
                    <a:lnTo>
                      <a:pt x="495" y="17"/>
                    </a:lnTo>
                    <a:lnTo>
                      <a:pt x="464" y="25"/>
                    </a:lnTo>
                    <a:lnTo>
                      <a:pt x="435" y="34"/>
                    </a:lnTo>
                    <a:lnTo>
                      <a:pt x="406" y="44"/>
                    </a:lnTo>
                    <a:lnTo>
                      <a:pt x="378" y="56"/>
                    </a:lnTo>
                    <a:lnTo>
                      <a:pt x="350" y="70"/>
                    </a:lnTo>
                    <a:lnTo>
                      <a:pt x="324" y="85"/>
                    </a:lnTo>
                    <a:lnTo>
                      <a:pt x="298" y="100"/>
                    </a:lnTo>
                    <a:lnTo>
                      <a:pt x="272" y="117"/>
                    </a:lnTo>
                    <a:lnTo>
                      <a:pt x="249" y="134"/>
                    </a:lnTo>
                    <a:lnTo>
                      <a:pt x="224" y="153"/>
                    </a:lnTo>
                    <a:lnTo>
                      <a:pt x="202" y="173"/>
                    </a:lnTo>
                    <a:lnTo>
                      <a:pt x="181" y="195"/>
                    </a:lnTo>
                    <a:lnTo>
                      <a:pt x="161" y="217"/>
                    </a:lnTo>
                    <a:lnTo>
                      <a:pt x="141" y="239"/>
                    </a:lnTo>
                    <a:lnTo>
                      <a:pt x="123" y="263"/>
                    </a:lnTo>
                    <a:lnTo>
                      <a:pt x="105" y="288"/>
                    </a:lnTo>
                    <a:lnTo>
                      <a:pt x="89" y="313"/>
                    </a:lnTo>
                    <a:lnTo>
                      <a:pt x="74" y="340"/>
                    </a:lnTo>
                    <a:lnTo>
                      <a:pt x="61" y="366"/>
                    </a:lnTo>
                    <a:lnTo>
                      <a:pt x="48" y="394"/>
                    </a:lnTo>
                    <a:lnTo>
                      <a:pt x="37" y="423"/>
                    </a:lnTo>
                    <a:lnTo>
                      <a:pt x="27" y="451"/>
                    </a:lnTo>
                    <a:lnTo>
                      <a:pt x="19" y="481"/>
                    </a:lnTo>
                    <a:lnTo>
                      <a:pt x="13" y="511"/>
                    </a:lnTo>
                    <a:lnTo>
                      <a:pt x="6" y="542"/>
                    </a:lnTo>
                    <a:lnTo>
                      <a:pt x="2" y="573"/>
                    </a:lnTo>
                    <a:lnTo>
                      <a:pt x="1" y="604"/>
                    </a:lnTo>
                    <a:lnTo>
                      <a:pt x="0" y="637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440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45" name="Imagen 44">
            <a:extLst>
              <a:ext uri="{FF2B5EF4-FFF2-40B4-BE49-F238E27FC236}">
                <a16:creationId xmlns:a16="http://schemas.microsoft.com/office/drawing/2014/main" id="{C63209E5-0501-426A-8202-C6A8F503AE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61943" y="3854110"/>
            <a:ext cx="1054092" cy="1054092"/>
          </a:xfrm>
          <a:prstGeom prst="rect">
            <a:avLst/>
          </a:prstGeom>
        </p:spPr>
      </p:pic>
      <p:sp>
        <p:nvSpPr>
          <p:cNvPr id="46" name="Rectángulo 45">
            <a:extLst>
              <a:ext uri="{FF2B5EF4-FFF2-40B4-BE49-F238E27FC236}">
                <a16:creationId xmlns:a16="http://schemas.microsoft.com/office/drawing/2014/main" id="{4221593A-321A-4DD6-BB69-D48F5EEF90D9}"/>
              </a:ext>
            </a:extLst>
          </p:cNvPr>
          <p:cNvSpPr/>
          <p:nvPr/>
        </p:nvSpPr>
        <p:spPr>
          <a:xfrm>
            <a:off x="907342" y="2068294"/>
            <a:ext cx="5153809" cy="635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CO" sz="1100" dirty="0">
                <a:solidFill>
                  <a:srgbClr val="010407"/>
                </a:solidFill>
                <a:latin typeface="Century Gothic" panose="020B0502020202020204" pitchFamily="34" charset="0"/>
              </a:rPr>
              <a:t>Garantizar el derecho a la vivienda digna de las unidades sociales ubicadas en las áreas de  terreno requeridas para los proyectos. </a:t>
            </a:r>
          </a:p>
          <a:p>
            <a:pPr algn="ctr">
              <a:lnSpc>
                <a:spcPct val="110000"/>
              </a:lnSpc>
            </a:pPr>
            <a:endParaRPr lang="es-CO" sz="1100" dirty="0">
              <a:solidFill>
                <a:srgbClr val="010407"/>
              </a:solidFill>
              <a:latin typeface="Century Gothic" panose="020B0502020202020204" pitchFamily="34" charset="0"/>
            </a:endParaRP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ABD5C628-54C4-4574-BE04-E922181E6A83}"/>
              </a:ext>
            </a:extLst>
          </p:cNvPr>
          <p:cNvSpPr txBox="1"/>
          <p:nvPr/>
        </p:nvSpPr>
        <p:spPr>
          <a:xfrm>
            <a:off x="918673" y="1365894"/>
            <a:ext cx="2076748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1300" b="1" dirty="0">
                <a:solidFill>
                  <a:prstClr val="white"/>
                </a:solidFill>
                <a:latin typeface="Century Gothic" panose="020B0502020202020204" pitchFamily="34" charset="0"/>
              </a:rPr>
              <a:t>DERECHO A VIVIENDA DIGNA </a:t>
            </a:r>
          </a:p>
        </p:txBody>
      </p:sp>
      <p:sp>
        <p:nvSpPr>
          <p:cNvPr id="53" name="Rectángulo 52">
            <a:extLst>
              <a:ext uri="{FF2B5EF4-FFF2-40B4-BE49-F238E27FC236}">
                <a16:creationId xmlns:a16="http://schemas.microsoft.com/office/drawing/2014/main" id="{FAE5E3B5-0991-4514-BC23-C403EB56874F}"/>
              </a:ext>
            </a:extLst>
          </p:cNvPr>
          <p:cNvSpPr/>
          <p:nvPr/>
        </p:nvSpPr>
        <p:spPr>
          <a:xfrm>
            <a:off x="8508571" y="2046506"/>
            <a:ext cx="2866715" cy="4494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CO" sz="1100" dirty="0">
                <a:solidFill>
                  <a:prstClr val="black"/>
                </a:solidFill>
                <a:latin typeface="Century Gothic" panose="020B0502020202020204" pitchFamily="34" charset="0"/>
              </a:rPr>
              <a:t>Promover la participación comunitaria y el control social </a:t>
            </a:r>
          </a:p>
        </p:txBody>
      </p:sp>
      <p:sp>
        <p:nvSpPr>
          <p:cNvPr id="57" name="Rectángulo 56">
            <a:extLst>
              <a:ext uri="{FF2B5EF4-FFF2-40B4-BE49-F238E27FC236}">
                <a16:creationId xmlns:a16="http://schemas.microsoft.com/office/drawing/2014/main" id="{28F1B8F1-789D-4C8D-9B05-7AB319506EB8}"/>
              </a:ext>
            </a:extLst>
          </p:cNvPr>
          <p:cNvSpPr/>
          <p:nvPr/>
        </p:nvSpPr>
        <p:spPr>
          <a:xfrm>
            <a:off x="6130850" y="1942848"/>
            <a:ext cx="2401596" cy="8218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s-CO" sz="1100" dirty="0">
                <a:solidFill>
                  <a:prstClr val="black"/>
                </a:solidFill>
                <a:latin typeface="Century Gothic" panose="020B0502020202020204" pitchFamily="34" charset="0"/>
              </a:rPr>
              <a:t>Brindar atención oportuna a los usuarios y comunidades a través de oficinas fijas, móviles y medios electrónicos.</a:t>
            </a:r>
          </a:p>
        </p:txBody>
      </p:sp>
      <p:sp>
        <p:nvSpPr>
          <p:cNvPr id="58" name="CuadroTexto 57">
            <a:extLst>
              <a:ext uri="{FF2B5EF4-FFF2-40B4-BE49-F238E27FC236}">
                <a16:creationId xmlns:a16="http://schemas.microsoft.com/office/drawing/2014/main" id="{5AB5CB09-A6C0-4B51-B36A-27AED6F50006}"/>
              </a:ext>
            </a:extLst>
          </p:cNvPr>
          <p:cNvSpPr txBox="1"/>
          <p:nvPr/>
        </p:nvSpPr>
        <p:spPr>
          <a:xfrm>
            <a:off x="6256485" y="1351366"/>
            <a:ext cx="2125515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DERECHO A LA PARTICIPACIÓN</a:t>
            </a:r>
          </a:p>
        </p:txBody>
      </p:sp>
      <p:sp>
        <p:nvSpPr>
          <p:cNvPr id="59" name="Rectángulo 58">
            <a:extLst>
              <a:ext uri="{FF2B5EF4-FFF2-40B4-BE49-F238E27FC236}">
                <a16:creationId xmlns:a16="http://schemas.microsoft.com/office/drawing/2014/main" id="{578B5190-774F-434E-ABC0-077D506920BB}"/>
              </a:ext>
            </a:extLst>
          </p:cNvPr>
          <p:cNvSpPr/>
          <p:nvPr/>
        </p:nvSpPr>
        <p:spPr>
          <a:xfrm>
            <a:off x="5926655" y="5108776"/>
            <a:ext cx="286671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endParaRPr lang="en-US" sz="11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60" name="Rectángulo 59">
            <a:extLst>
              <a:ext uri="{FF2B5EF4-FFF2-40B4-BE49-F238E27FC236}">
                <a16:creationId xmlns:a16="http://schemas.microsoft.com/office/drawing/2014/main" id="{78133051-A36F-4BBF-A062-5E038B5ABFCB}"/>
              </a:ext>
            </a:extLst>
          </p:cNvPr>
          <p:cNvSpPr/>
          <p:nvPr/>
        </p:nvSpPr>
        <p:spPr>
          <a:xfrm>
            <a:off x="5921045" y="4901415"/>
            <a:ext cx="2798402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685800">
              <a:defRPr/>
            </a:pPr>
            <a:r>
              <a:rPr lang="es-CO" sz="11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87 oficinas fijas y satélites y, 59 oficinas móviles de </a:t>
            </a:r>
            <a:r>
              <a:rPr lang="es-CO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los proyectos 4G</a:t>
            </a:r>
          </a:p>
          <a:p>
            <a:pPr lvl="0" algn="ctr" defTabSz="685800">
              <a:defRPr/>
            </a:pPr>
            <a:r>
              <a:rPr lang="es-CO" sz="1200" b="1" dirty="0">
                <a:solidFill>
                  <a:srgbClr val="222222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26.774 usuarios atendidos </a:t>
            </a:r>
            <a:r>
              <a:rPr lang="es-CO" sz="11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en los sistemas de atención. 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</p:txBody>
      </p:sp>
      <p:pic>
        <p:nvPicPr>
          <p:cNvPr id="28" name="Picture 24" descr="Resultado de imagen para ods 17 alianzas para lograr los objetivos">
            <a:extLst>
              <a:ext uri="{FF2B5EF4-FFF2-40B4-BE49-F238E27FC236}">
                <a16:creationId xmlns:a16="http://schemas.microsoft.com/office/drawing/2014/main" id="{EC9D811A-4DB1-4B4F-9A2E-5E90801D65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1" t="5793" r="5011" b="5793"/>
          <a:stretch/>
        </p:blipFill>
        <p:spPr bwMode="auto">
          <a:xfrm>
            <a:off x="9296270" y="2679861"/>
            <a:ext cx="1133744" cy="1114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4" descr="Resultado de imagen para ods 17 alianzas para lograr los objetivos">
            <a:extLst>
              <a:ext uri="{FF2B5EF4-FFF2-40B4-BE49-F238E27FC236}">
                <a16:creationId xmlns:a16="http://schemas.microsoft.com/office/drawing/2014/main" id="{FE0C0CE3-345D-46CA-AC52-E097D163FD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1" t="5793" r="5011" b="5793"/>
          <a:stretch/>
        </p:blipFill>
        <p:spPr bwMode="auto">
          <a:xfrm>
            <a:off x="6802212" y="3683470"/>
            <a:ext cx="1133744" cy="1114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Imagen 29">
            <a:extLst>
              <a:ext uri="{FF2B5EF4-FFF2-40B4-BE49-F238E27FC236}">
                <a16:creationId xmlns:a16="http://schemas.microsoft.com/office/drawing/2014/main" id="{A05DD93A-276F-40A6-BECA-8FE573B8D0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5967" y="2650104"/>
            <a:ext cx="1054092" cy="1054092"/>
          </a:xfrm>
          <a:prstGeom prst="rect">
            <a:avLst/>
          </a:prstGeom>
        </p:spPr>
      </p:pic>
      <p:sp>
        <p:nvSpPr>
          <p:cNvPr id="31" name="CuadroTexto 30">
            <a:extLst>
              <a:ext uri="{FF2B5EF4-FFF2-40B4-BE49-F238E27FC236}">
                <a16:creationId xmlns:a16="http://schemas.microsoft.com/office/drawing/2014/main" id="{85A93634-9079-4A42-A001-2944BB56A5DE}"/>
              </a:ext>
            </a:extLst>
          </p:cNvPr>
          <p:cNvSpPr txBox="1"/>
          <p:nvPr/>
        </p:nvSpPr>
        <p:spPr>
          <a:xfrm>
            <a:off x="3117592" y="1379162"/>
            <a:ext cx="3075233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1300" b="1" dirty="0">
                <a:solidFill>
                  <a:prstClr val="white"/>
                </a:solidFill>
                <a:latin typeface="Century Gothic" panose="020B0502020202020204" pitchFamily="34" charset="0"/>
              </a:rPr>
              <a:t>DERECHO A VIVIENDA</a:t>
            </a:r>
          </a:p>
          <a:p>
            <a:pPr algn="ctr"/>
            <a:r>
              <a:rPr lang="es-CO" sz="1300" b="1" dirty="0">
                <a:solidFill>
                  <a:prstClr val="white"/>
                </a:solidFill>
                <a:latin typeface="Century Gothic" panose="020B0502020202020204" pitchFamily="34" charset="0"/>
              </a:rPr>
              <a:t> DIGNA </a:t>
            </a: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77A7E090-214B-43A0-BB37-9FBF7E454F98}"/>
              </a:ext>
            </a:extLst>
          </p:cNvPr>
          <p:cNvSpPr txBox="1"/>
          <p:nvPr/>
        </p:nvSpPr>
        <p:spPr>
          <a:xfrm>
            <a:off x="8453954" y="1368661"/>
            <a:ext cx="3100734" cy="492443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>
            <a:defPPr>
              <a:defRPr lang="es-ES_tradnl"/>
            </a:defPPr>
            <a:lvl1pPr algn="ctr">
              <a:defRPr sz="1400" b="1">
                <a:solidFill>
                  <a:srgbClr val="010407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DERECHO A LA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3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</a:rPr>
              <a:t>PARTICIPACIÓN</a:t>
            </a: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C9C4D03F-EBF3-43AD-A18A-0C1C97FB9A8B}"/>
              </a:ext>
            </a:extLst>
          </p:cNvPr>
          <p:cNvSpPr/>
          <p:nvPr/>
        </p:nvSpPr>
        <p:spPr>
          <a:xfrm>
            <a:off x="8918647" y="4917935"/>
            <a:ext cx="2182688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</a:rPr>
              <a:t>1.424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ocializaciones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 comunidades realizadas en proyectos 4G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62" name="Rectángulo 61">
            <a:extLst>
              <a:ext uri="{FF2B5EF4-FFF2-40B4-BE49-F238E27FC236}">
                <a16:creationId xmlns:a16="http://schemas.microsoft.com/office/drawing/2014/main" id="{015865B5-176A-4EE8-A790-7CAE7B0AD4C3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63" name="Rectángulo 62">
            <a:extLst>
              <a:ext uri="{FF2B5EF4-FFF2-40B4-BE49-F238E27FC236}">
                <a16:creationId xmlns:a16="http://schemas.microsoft.com/office/drawing/2014/main" id="{705AE172-08EA-4D64-B908-2D338C3C67D2}"/>
              </a:ext>
            </a:extLst>
          </p:cNvPr>
          <p:cNvSpPr/>
          <p:nvPr/>
        </p:nvSpPr>
        <p:spPr>
          <a:xfrm>
            <a:off x="3817159" y="4604455"/>
            <a:ext cx="1866484" cy="12541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CO" sz="1100" b="1" noProof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</a:rPr>
              <a:t>236</a:t>
            </a:r>
            <a:r>
              <a:rPr kumimoji="0" lang="es-CO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nidades Sociales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asentadas en 4G. Con una inversión de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$</a:t>
            </a:r>
            <a:r>
              <a:rPr lang="es-CO" sz="11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2.976 mi</a:t>
            </a:r>
            <a:r>
              <a:rPr kumimoji="0" lang="es-CO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lones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invertidos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n planes de reasentamiento.</a:t>
            </a:r>
            <a:endParaRPr kumimoji="0" lang="es-CO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D0762748-1A77-4645-A14B-97BC8A5C51AD}"/>
              </a:ext>
            </a:extLst>
          </p:cNvPr>
          <p:cNvSpPr/>
          <p:nvPr/>
        </p:nvSpPr>
        <p:spPr>
          <a:xfrm>
            <a:off x="476452" y="5029423"/>
            <a:ext cx="3019896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CO" sz="12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1,549 Unidades Sociales </a:t>
            </a:r>
            <a:r>
              <a:rPr lang="es-CO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objeto de compensación socioeconómica. </a:t>
            </a:r>
          </a:p>
          <a:p>
            <a:pPr lvl="0" algn="ctr">
              <a:defRPr/>
            </a:pPr>
            <a:r>
              <a:rPr lang="es-CO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Se han reconocido más de </a:t>
            </a:r>
            <a:r>
              <a:rPr lang="es-CO" sz="12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$16,800 mil millones</a:t>
            </a:r>
          </a:p>
        </p:txBody>
      </p:sp>
    </p:spTree>
    <p:extLst>
      <p:ext uri="{BB962C8B-B14F-4D97-AF65-F5344CB8AC3E}">
        <p14:creationId xmlns:p14="http://schemas.microsoft.com/office/powerpoint/2010/main" val="22949595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3986441" y="3133497"/>
            <a:ext cx="3046355" cy="2638909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EBA3B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24082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E25C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A10F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3890058" y="4244297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8.3</a:t>
            </a:r>
          </a:p>
          <a:p>
            <a:pPr algn="ctr"/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Promover políticas orientadas al desarrollo que apoyen las actividades productivas, la creación de puestos de trabajo decentes, el emprendimiento, la creatividad y la innovación.</a:t>
            </a:r>
          </a:p>
          <a:p>
            <a:pPr algn="ctr"/>
            <a:b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</a:b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promueve el derecho al trabajo a través de la vinculación de mano de obra de las comunidades de los proyectos, así como el fortalecimiento de iniciativas y/o proyectos productivos. 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5" y="3251290"/>
            <a:ext cx="2384884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184526" y="3383469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43400" y="3898596"/>
            <a:ext cx="2309893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3</a:t>
            </a: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l trabajo a condiciones equitativas y satisfactorias de trabajo 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330517" y="3121213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080424" y="3701569"/>
            <a:ext cx="289637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8. TRABAJO DECENTE Y CRECIMIENTO ECONÓMICO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7881281" y="3121213"/>
            <a:ext cx="3895083" cy="2693602"/>
            <a:chOff x="334963" y="1838325"/>
            <a:chExt cx="2484437" cy="2892907"/>
          </a:xfrm>
        </p:grpSpPr>
        <p:grpSp>
          <p:nvGrpSpPr>
            <p:cNvPr id="24" name="Grupo 12">
              <a:extLst>
                <a:ext uri="{FF2B5EF4-FFF2-40B4-BE49-F238E27FC236}">
                  <a16:creationId xmlns:a16="http://schemas.microsoft.com/office/drawing/2014/main" id="{6EE09BC1-97C9-406F-894E-DDE5FC6888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88144"/>
              <a:chOff x="684214" y="2060575"/>
              <a:chExt cx="2232025" cy="2349585"/>
            </a:xfrm>
          </p:grpSpPr>
          <p:sp>
            <p:nvSpPr>
              <p:cNvPr id="26" name="Redondear rectángulo de esquina diagonal 1">
                <a:extLst>
                  <a:ext uri="{FF2B5EF4-FFF2-40B4-BE49-F238E27FC236}">
                    <a16:creationId xmlns:a16="http://schemas.microsoft.com/office/drawing/2014/main" id="{B1A921CD-BAD3-4D5A-9DB1-9C7FEB49C45A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49585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2B2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27" name="Redondear rectángulo de esquina diagonal 5">
                <a:extLst>
                  <a:ext uri="{FF2B5EF4-FFF2-40B4-BE49-F238E27FC236}">
                    <a16:creationId xmlns:a16="http://schemas.microsoft.com/office/drawing/2014/main" id="{E6DC643D-B82A-4696-AACC-2801279B5ED7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7795976" y="3611421"/>
            <a:ext cx="4036389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VINCULACIÓN DE MANO DE OBRA Y FORTALECIMIENTO DE INICIATIVAS Y/O PROYECTOS PRODUCTIVOS</a:t>
            </a:r>
            <a:endParaRPr lang="es-MX" sz="12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pic>
        <p:nvPicPr>
          <p:cNvPr id="2" name="Imagen 1">
            <a:extLst>
              <a:ext uri="{FF2B5EF4-FFF2-40B4-BE49-F238E27FC236}">
                <a16:creationId xmlns:a16="http://schemas.microsoft.com/office/drawing/2014/main" id="{98CF85A6-A9BD-4156-ADA5-7D1395F7FBA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3085" t="-6271" r="3085" b="6271"/>
          <a:stretch/>
        </p:blipFill>
        <p:spPr>
          <a:xfrm>
            <a:off x="3584575" y="2583313"/>
            <a:ext cx="875167" cy="881041"/>
          </a:xfrm>
          <a:prstGeom prst="ellipse">
            <a:avLst/>
          </a:prstGeom>
        </p:spPr>
      </p:pic>
      <p:pic>
        <p:nvPicPr>
          <p:cNvPr id="36" name="Imagen 35">
            <a:extLst>
              <a:ext uri="{FF2B5EF4-FFF2-40B4-BE49-F238E27FC236}">
                <a16:creationId xmlns:a16="http://schemas.microsoft.com/office/drawing/2014/main" id="{2E8ACDC1-C932-42F6-BF2C-3B9316BE34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418" y="2675676"/>
            <a:ext cx="971911" cy="881041"/>
          </a:xfrm>
          <a:prstGeom prst="ellipse">
            <a:avLst/>
          </a:prstGeom>
        </p:spPr>
      </p:pic>
      <p:pic>
        <p:nvPicPr>
          <p:cNvPr id="37" name="Imagen 36">
            <a:extLst>
              <a:ext uri="{FF2B5EF4-FFF2-40B4-BE49-F238E27FC236}">
                <a16:creationId xmlns:a16="http://schemas.microsoft.com/office/drawing/2014/main" id="{B83DF966-02DE-4974-9709-9C0E36E42E1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259" r="20368" b="-7423"/>
          <a:stretch/>
        </p:blipFill>
        <p:spPr>
          <a:xfrm>
            <a:off x="7439656" y="2691693"/>
            <a:ext cx="971911" cy="882901"/>
          </a:xfrm>
          <a:prstGeom prst="ellipse">
            <a:avLst/>
          </a:prstGeom>
          <a:ln w="38100">
            <a:noFill/>
          </a:ln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id="{16A6B1E8-B301-433F-AEAB-A8B20AA679BB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78C8CD04-424C-427A-955B-1C86C569FCFC}"/>
              </a:ext>
            </a:extLst>
          </p:cNvPr>
          <p:cNvSpPr/>
          <p:nvPr/>
        </p:nvSpPr>
        <p:spPr>
          <a:xfrm>
            <a:off x="-13894" y="1058695"/>
            <a:ext cx="12205893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CF4A84EE-25C3-4AA7-994B-EABD7BB23FCD}"/>
              </a:ext>
            </a:extLst>
          </p:cNvPr>
          <p:cNvSpPr/>
          <p:nvPr/>
        </p:nvSpPr>
        <p:spPr>
          <a:xfrm>
            <a:off x="8002782" y="4375432"/>
            <a:ext cx="36591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52.421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mpleos generados en 4G</a:t>
            </a:r>
          </a:p>
          <a:p>
            <a:pPr algn="ctr"/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108.953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mpleos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n total de todos los modos</a:t>
            </a:r>
          </a:p>
        </p:txBody>
      </p:sp>
      <p:sp>
        <p:nvSpPr>
          <p:cNvPr id="41" name="Rectángulo 40">
            <a:extLst>
              <a:ext uri="{FF2B5EF4-FFF2-40B4-BE49-F238E27FC236}">
                <a16:creationId xmlns:a16="http://schemas.microsoft.com/office/drawing/2014/main" id="{0EEBD606-26AA-42A0-BF04-FB627B42B647}"/>
              </a:ext>
            </a:extLst>
          </p:cNvPr>
          <p:cNvSpPr/>
          <p:nvPr/>
        </p:nvSpPr>
        <p:spPr>
          <a:xfrm>
            <a:off x="8108234" y="5063184"/>
            <a:ext cx="3659130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193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iniciativas y/o proyectos productivos </a:t>
            </a:r>
            <a:r>
              <a:rPr lang="es-CO" sz="11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en 4G </a:t>
            </a:r>
            <a:endParaRPr lang="es-CO" sz="105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</a:endParaRPr>
          </a:p>
          <a:p>
            <a:pPr algn="ctr"/>
            <a:r>
              <a:rPr lang="es-CO" sz="11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Inversión superior a los $580 millones</a:t>
            </a:r>
          </a:p>
        </p:txBody>
      </p:sp>
    </p:spTree>
    <p:extLst>
      <p:ext uri="{BB962C8B-B14F-4D97-AF65-F5344CB8AC3E}">
        <p14:creationId xmlns:p14="http://schemas.microsoft.com/office/powerpoint/2010/main" val="10266812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591288" y="3225860"/>
            <a:ext cx="3046355" cy="2588955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C4F6C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8EE27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34477" y="4394983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3.6</a:t>
            </a:r>
          </a:p>
          <a:p>
            <a:pPr algn="ctr" defTabSz="1219170">
              <a:buClr>
                <a:srgbClr val="000000"/>
              </a:buClr>
            </a:pP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Reducir a la mitad el número de muertes y lesiones causadas por accidentes de tráfico en el mundo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pic>
        <p:nvPicPr>
          <p:cNvPr id="11" name="Picture 14" descr="Imagen relacionada">
            <a:extLst>
              <a:ext uri="{FF2B5EF4-FFF2-40B4-BE49-F238E27FC236}">
                <a16:creationId xmlns:a16="http://schemas.microsoft.com/office/drawing/2014/main" id="{340206D9-2169-4830-9D13-9B4674D2282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8" t="2592" r="7543" b="15746"/>
          <a:stretch/>
        </p:blipFill>
        <p:spPr bwMode="auto">
          <a:xfrm>
            <a:off x="4245608" y="2727706"/>
            <a:ext cx="871111" cy="80353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promueve el derecho a la vida a través de acciones pedagógicas y lúdicas que contribuyan al uso adecuado de la infraestructura  para la prevención de accidentes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4" y="3251290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47735" y="3327782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80895" y="3858088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3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o individuo tiene derecho a la vida, a la libertad y a la seguridad de su persona.</a:t>
            </a: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7031" y="2755393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35364" y="3213576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5036285" y="3887880"/>
            <a:ext cx="2156360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3. SALUD Y BIENESTAR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436277" y="3171554"/>
            <a:ext cx="3046355" cy="2643261"/>
            <a:chOff x="334963" y="1838325"/>
            <a:chExt cx="2484437" cy="2892907"/>
          </a:xfrm>
        </p:grpSpPr>
        <p:grpSp>
          <p:nvGrpSpPr>
            <p:cNvPr id="24" name="Grupo 12">
              <a:extLst>
                <a:ext uri="{FF2B5EF4-FFF2-40B4-BE49-F238E27FC236}">
                  <a16:creationId xmlns:a16="http://schemas.microsoft.com/office/drawing/2014/main" id="{6EE09BC1-97C9-406F-894E-DDE5FC6888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88144"/>
              <a:chOff x="684214" y="2060575"/>
              <a:chExt cx="2232025" cy="2349585"/>
            </a:xfrm>
          </p:grpSpPr>
          <p:sp>
            <p:nvSpPr>
              <p:cNvPr id="26" name="Redondear rectángulo de esquina diagonal 1">
                <a:extLst>
                  <a:ext uri="{FF2B5EF4-FFF2-40B4-BE49-F238E27FC236}">
                    <a16:creationId xmlns:a16="http://schemas.microsoft.com/office/drawing/2014/main" id="{B1A921CD-BAD3-4D5A-9DB1-9C7FEB49C45A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49585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2B2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27" name="Redondear rectángulo de esquina diagonal 5">
                <a:extLst>
                  <a:ext uri="{FF2B5EF4-FFF2-40B4-BE49-F238E27FC236}">
                    <a16:creationId xmlns:a16="http://schemas.microsoft.com/office/drawing/2014/main" id="{E6DC643D-B82A-4696-AACC-2801279B5ED7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4259" r="20368" b="-7423"/>
          <a:stretch/>
        </p:blipFill>
        <p:spPr>
          <a:xfrm>
            <a:off x="7777274" y="2763545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29" name="Rectángulo 28">
            <a:extLst>
              <a:ext uri="{FF2B5EF4-FFF2-40B4-BE49-F238E27FC236}">
                <a16:creationId xmlns:a16="http://schemas.microsoft.com/office/drawing/2014/main" id="{440E52A7-064F-483C-B4F3-33B4579429F8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8218248" y="3736976"/>
            <a:ext cx="3438637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CULTURA VIAL </a:t>
            </a:r>
            <a:endParaRPr lang="es-MX" sz="14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B0DE8A98-54BA-4B01-89CA-D212366E5A76}"/>
              </a:ext>
            </a:extLst>
          </p:cNvPr>
          <p:cNvSpPr/>
          <p:nvPr/>
        </p:nvSpPr>
        <p:spPr>
          <a:xfrm>
            <a:off x="0" y="1128533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34F0B343-A6FB-4514-917A-8ACE25E79D2C}"/>
              </a:ext>
            </a:extLst>
          </p:cNvPr>
          <p:cNvSpPr/>
          <p:nvPr/>
        </p:nvSpPr>
        <p:spPr>
          <a:xfrm>
            <a:off x="8575167" y="4468439"/>
            <a:ext cx="286671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ás de 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20 campañas de cultura vial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y 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264 actividades pedagógicas de formación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que han impactado significativamente en 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44,000 personas. </a:t>
            </a:r>
            <a:endParaRPr lang="en-US" sz="12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635886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591288" y="3225860"/>
            <a:ext cx="3046355" cy="2588955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34477" y="4394983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16.7 </a:t>
            </a:r>
          </a:p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Garantizar la adopción de decisiones inclusivas, participativas y representativas que respondan a las necesidades a todos los niveles</a:t>
            </a: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</a:p>
          <a:p>
            <a:pPr algn="ctr" defTabSz="1219170">
              <a:buClr>
                <a:srgbClr val="000000"/>
              </a:buClr>
            </a:pP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3203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promueve, respeta y garantiza el derecho a la consulta previa a las comunidades étnicas  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4" y="3251290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47735" y="3327782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80895" y="3858088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CONSULTA PREVIA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031" y="2755393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35364" y="3213576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680636" y="3762980"/>
            <a:ext cx="28440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6. PAZ, JUSTICIA E INSTITUCIONES SÓLIDAS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436277" y="3171554"/>
            <a:ext cx="3046355" cy="2643261"/>
            <a:chOff x="334963" y="1838325"/>
            <a:chExt cx="2484437" cy="2892907"/>
          </a:xfrm>
        </p:grpSpPr>
        <p:grpSp>
          <p:nvGrpSpPr>
            <p:cNvPr id="24" name="Grupo 12">
              <a:extLst>
                <a:ext uri="{FF2B5EF4-FFF2-40B4-BE49-F238E27FC236}">
                  <a16:creationId xmlns:a16="http://schemas.microsoft.com/office/drawing/2014/main" id="{6EE09BC1-97C9-406F-894E-DDE5FC6888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88144"/>
              <a:chOff x="684214" y="2060575"/>
              <a:chExt cx="2232025" cy="2349585"/>
            </a:xfrm>
          </p:grpSpPr>
          <p:sp>
            <p:nvSpPr>
              <p:cNvPr id="26" name="Redondear rectángulo de esquina diagonal 1">
                <a:extLst>
                  <a:ext uri="{FF2B5EF4-FFF2-40B4-BE49-F238E27FC236}">
                    <a16:creationId xmlns:a16="http://schemas.microsoft.com/office/drawing/2014/main" id="{B1A921CD-BAD3-4D5A-9DB1-9C7FEB49C45A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49585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2B28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27" name="Redondear rectángulo de esquina diagonal 5">
                <a:extLst>
                  <a:ext uri="{FF2B5EF4-FFF2-40B4-BE49-F238E27FC236}">
                    <a16:creationId xmlns:a16="http://schemas.microsoft.com/office/drawing/2014/main" id="{E6DC643D-B82A-4696-AACC-2801279B5ED7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99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777274" y="2763545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8218248" y="3736976"/>
            <a:ext cx="3438637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MX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CONSULTAS PREVIAS</a:t>
            </a:r>
            <a:endParaRPr lang="es-MX" sz="15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306FF2DE-1188-4546-BB50-CFC0B5A8C8A8}"/>
              </a:ext>
            </a:extLst>
          </p:cNvPr>
          <p:cNvSpPr/>
          <p:nvPr/>
        </p:nvSpPr>
        <p:spPr>
          <a:xfrm>
            <a:off x="8544800" y="4375432"/>
            <a:ext cx="282930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De los 29 proyectos 4G, 10 han requerido 39 consultas previas.</a:t>
            </a:r>
          </a:p>
          <a:p>
            <a:pPr algn="ctr" defTabSz="1219170">
              <a:buClr>
                <a:srgbClr val="000000"/>
              </a:buClr>
            </a:pPr>
            <a:endParaRPr lang="es-CO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ctualmente se tiene un</a:t>
            </a: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92.4% de avance</a:t>
            </a: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 </a:t>
            </a:r>
            <a:endParaRPr lang="en-US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018207" y="4422335"/>
            <a:ext cx="303405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Es el derecho fundamental que tienen los grupos étnicos cuando se toman medidas legislativas, administrativas o aquellas relacionadas con el desarrollo de proyectos, obras o actividades en sus territorios.</a:t>
            </a:r>
            <a:endParaRPr lang="es-MX" sz="12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pic>
        <p:nvPicPr>
          <p:cNvPr id="33" name="Picture 22" descr="Resultado de imagen para ods paz justicia e instituciones solidas">
            <a:extLst>
              <a:ext uri="{FF2B5EF4-FFF2-40B4-BE49-F238E27FC236}">
                <a16:creationId xmlns:a16="http://schemas.microsoft.com/office/drawing/2014/main" id="{5F29D3AA-A93B-4880-A919-519143C6DF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15" t="5036" r="4728" b="10402"/>
          <a:stretch/>
        </p:blipFill>
        <p:spPr bwMode="auto">
          <a:xfrm>
            <a:off x="4230228" y="2846546"/>
            <a:ext cx="900816" cy="837485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D804B46A-673D-4AB5-938D-8BC14392D275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</p:spTree>
    <p:extLst>
      <p:ext uri="{BB962C8B-B14F-4D97-AF65-F5344CB8AC3E}">
        <p14:creationId xmlns:p14="http://schemas.microsoft.com/office/powerpoint/2010/main" val="18360093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591288" y="3225860"/>
            <a:ext cx="3046355" cy="2588955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rgbClr val="FCC4C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rgbClr val="FF616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1B1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09834" y="4277233"/>
            <a:ext cx="3159976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1</a:t>
            </a:r>
          </a:p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Garantizar una movilización significativa de recursos procedentes de diversas fuentes, para poner en práctica programas y políticas encaminadas a poner fin a la pobreza en todas sus dimensiones</a:t>
            </a:r>
          </a:p>
          <a:p>
            <a:pPr algn="ctr" defTabSz="1219170">
              <a:buClr>
                <a:srgbClr val="000000"/>
              </a:buClr>
            </a:pP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05904" y="3251290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47735" y="3327782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080895" y="3858088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5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031" y="2755393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35364" y="3213576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667784" y="3858088"/>
            <a:ext cx="2844077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. FIN DE LA POBREZA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436277" y="3171554"/>
            <a:ext cx="3046355" cy="2643261"/>
            <a:chOff x="334963" y="1838325"/>
            <a:chExt cx="2484437" cy="2892907"/>
          </a:xfrm>
        </p:grpSpPr>
        <p:sp>
          <p:nvSpPr>
            <p:cNvPr id="26" name="Redondear rectángulo de esquina diagonal 1">
              <a:extLst>
                <a:ext uri="{FF2B5EF4-FFF2-40B4-BE49-F238E27FC236}">
                  <a16:creationId xmlns:a16="http://schemas.microsoft.com/office/drawing/2014/main" id="{B1A921CD-BAD3-4D5A-9DB1-9C7FEB49C45A}"/>
                </a:ext>
              </a:extLst>
            </p:cNvPr>
            <p:cNvSpPr/>
            <p:nvPr/>
          </p:nvSpPr>
          <p:spPr bwMode="auto">
            <a:xfrm>
              <a:off x="334963" y="1843088"/>
              <a:ext cx="2484437" cy="2888144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rgbClr val="F2B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777274" y="2763545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080895" y="4429820"/>
            <a:ext cx="285740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 un nivel de vida adecuado que le asegure, así como a su familia, la salud y el bienestar, y en especial la alimentación, el vestido, la </a:t>
            </a:r>
            <a:r>
              <a:rPr lang="es-CO" sz="12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vivienda, </a:t>
            </a: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la asistencia médica y los servicios sociales necesarios.</a:t>
            </a:r>
            <a:endParaRPr lang="es-MX" sz="12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575167" y="3234462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sp>
        <p:nvSpPr>
          <p:cNvPr id="35" name="Rectángulo 34">
            <a:extLst>
              <a:ext uri="{FF2B5EF4-FFF2-40B4-BE49-F238E27FC236}">
                <a16:creationId xmlns:a16="http://schemas.microsoft.com/office/drawing/2014/main" id="{C5C8AFE7-F26B-4675-A341-8E1A06EE000F}"/>
              </a:ext>
            </a:extLst>
          </p:cNvPr>
          <p:cNvSpPr/>
          <p:nvPr/>
        </p:nvSpPr>
        <p:spPr>
          <a:xfrm>
            <a:off x="1" y="1793053"/>
            <a:ext cx="12192000" cy="568682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garantiza el derecho a la vivienda digna de las unidades sociales ubicadas en las áreas de  terreno requeridas para los proyectos. </a:t>
            </a:r>
          </a:p>
        </p:txBody>
      </p:sp>
      <p:pic>
        <p:nvPicPr>
          <p:cNvPr id="36" name="Imagen 35">
            <a:extLst>
              <a:ext uri="{FF2B5EF4-FFF2-40B4-BE49-F238E27FC236}">
                <a16:creationId xmlns:a16="http://schemas.microsoft.com/office/drawing/2014/main" id="{4000B24B-C363-4578-B963-95E38E98D93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-5081" t="-7523" r="5081" b="7523"/>
          <a:stretch/>
        </p:blipFill>
        <p:spPr>
          <a:xfrm>
            <a:off x="4100031" y="2734786"/>
            <a:ext cx="1054092" cy="1054092"/>
          </a:xfrm>
          <a:prstGeom prst="ellipse">
            <a:avLst/>
          </a:prstGeom>
        </p:spPr>
      </p:pic>
      <p:sp>
        <p:nvSpPr>
          <p:cNvPr id="38" name="Rectángulo 37">
            <a:extLst>
              <a:ext uri="{FF2B5EF4-FFF2-40B4-BE49-F238E27FC236}">
                <a16:creationId xmlns:a16="http://schemas.microsoft.com/office/drawing/2014/main" id="{C986E103-AA7F-4809-B94F-337EE2050B62}"/>
              </a:ext>
            </a:extLst>
          </p:cNvPr>
          <p:cNvSpPr/>
          <p:nvPr/>
        </p:nvSpPr>
        <p:spPr>
          <a:xfrm>
            <a:off x="-13892" y="909670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9" name="Rectángulo 38">
            <a:extLst>
              <a:ext uri="{FF2B5EF4-FFF2-40B4-BE49-F238E27FC236}">
                <a16:creationId xmlns:a16="http://schemas.microsoft.com/office/drawing/2014/main" id="{BC97EFE5-3810-4EBE-A857-1FBC6510F08D}"/>
              </a:ext>
            </a:extLst>
          </p:cNvPr>
          <p:cNvSpPr/>
          <p:nvPr/>
        </p:nvSpPr>
        <p:spPr>
          <a:xfrm>
            <a:off x="8521805" y="4724481"/>
            <a:ext cx="290566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s-CO" sz="1100" b="1" noProof="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</a:rPr>
              <a:t>236</a:t>
            </a:r>
            <a:r>
              <a:rPr kumimoji="0" lang="es-CO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Unidades Sociales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easentadas en 4G. Con una inversión de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$</a:t>
            </a:r>
            <a:r>
              <a:rPr lang="es-CO" sz="11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2.976 mi</a:t>
            </a:r>
            <a:r>
              <a:rPr kumimoji="0" lang="es-CO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llones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invertidos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n planes de reasentamiento.</a:t>
            </a:r>
            <a:endParaRPr kumimoji="0" lang="es-CO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06348906-F5C3-41C9-A1DB-400A5D05C077}"/>
              </a:ext>
            </a:extLst>
          </p:cNvPr>
          <p:cNvSpPr/>
          <p:nvPr/>
        </p:nvSpPr>
        <p:spPr>
          <a:xfrm>
            <a:off x="8485791" y="3878701"/>
            <a:ext cx="3019896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s-CO" sz="12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1,549 Unidades Sociales </a:t>
            </a:r>
            <a:r>
              <a:rPr lang="es-CO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objeto de compensación socioeconómica. </a:t>
            </a:r>
          </a:p>
          <a:p>
            <a:pPr lvl="0" algn="ctr">
              <a:defRPr/>
            </a:pPr>
            <a:r>
              <a:rPr lang="es-CO" sz="1100" dirty="0">
                <a:solidFill>
                  <a:srgbClr val="000000"/>
                </a:solidFill>
                <a:latin typeface="Century Gothic" panose="020B0502020202020204" pitchFamily="34" charset="0"/>
              </a:rPr>
              <a:t>Se han reconocido más de </a:t>
            </a:r>
            <a:r>
              <a:rPr lang="es-CO" sz="1200" b="1" dirty="0">
                <a:solidFill>
                  <a:srgbClr val="000000"/>
                </a:solidFill>
                <a:latin typeface="Century Gothic" panose="020B0502020202020204" pitchFamily="34" charset="0"/>
              </a:rPr>
              <a:t>$16,800 mil millones</a:t>
            </a:r>
          </a:p>
        </p:txBody>
      </p:sp>
    </p:spTree>
    <p:extLst>
      <p:ext uri="{BB962C8B-B14F-4D97-AF65-F5344CB8AC3E}">
        <p14:creationId xmlns:p14="http://schemas.microsoft.com/office/powerpoint/2010/main" val="13674490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o 4">
            <a:extLst>
              <a:ext uri="{FF2B5EF4-FFF2-40B4-BE49-F238E27FC236}">
                <a16:creationId xmlns:a16="http://schemas.microsoft.com/office/drawing/2014/main" id="{B48B6A5B-8551-4332-B884-2643EBA9BE4A}"/>
              </a:ext>
            </a:extLst>
          </p:cNvPr>
          <p:cNvGrpSpPr/>
          <p:nvPr/>
        </p:nvGrpSpPr>
        <p:grpSpPr>
          <a:xfrm>
            <a:off x="4632282" y="2976601"/>
            <a:ext cx="3046355" cy="2588955"/>
            <a:chOff x="334963" y="1838325"/>
            <a:chExt cx="2484437" cy="2833472"/>
          </a:xfrm>
        </p:grpSpPr>
        <p:grpSp>
          <p:nvGrpSpPr>
            <p:cNvPr id="6" name="Grupo 12">
              <a:extLst>
                <a:ext uri="{FF2B5EF4-FFF2-40B4-BE49-F238E27FC236}">
                  <a16:creationId xmlns:a16="http://schemas.microsoft.com/office/drawing/2014/main" id="{D96DCE74-5D17-4B09-9836-19B6981A45B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28709"/>
              <a:chOff x="684214" y="2060575"/>
              <a:chExt cx="2232025" cy="2301233"/>
            </a:xfrm>
          </p:grpSpPr>
          <p:sp>
            <p:nvSpPr>
              <p:cNvPr id="8" name="Redondear rectángulo de esquina diagonal 1">
                <a:extLst>
                  <a:ext uri="{FF2B5EF4-FFF2-40B4-BE49-F238E27FC236}">
                    <a16:creationId xmlns:a16="http://schemas.microsoft.com/office/drawing/2014/main" id="{627E2843-2EEE-4384-9E61-498212ECA30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301233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9" name="Redondear rectángulo de esquina diagonal 5">
                <a:extLst>
                  <a:ext uri="{FF2B5EF4-FFF2-40B4-BE49-F238E27FC236}">
                    <a16:creationId xmlns:a16="http://schemas.microsoft.com/office/drawing/2014/main" id="{695F4512-CCE2-44D2-B314-7F9092A4A54D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tx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7" name="Redondear rectángulo de esquina diagonal 20">
              <a:extLst>
                <a:ext uri="{FF2B5EF4-FFF2-40B4-BE49-F238E27FC236}">
                  <a16:creationId xmlns:a16="http://schemas.microsoft.com/office/drawing/2014/main" id="{19DCCE58-276D-45D3-AEC8-017AEF41B449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0" name="Google Shape;438;p68">
            <a:extLst>
              <a:ext uri="{FF2B5EF4-FFF2-40B4-BE49-F238E27FC236}">
                <a16:creationId xmlns:a16="http://schemas.microsoft.com/office/drawing/2014/main" id="{2CE16EC8-D2DF-4646-BFC6-D445F80F6F96}"/>
              </a:ext>
            </a:extLst>
          </p:cNvPr>
          <p:cNvSpPr txBox="1"/>
          <p:nvPr/>
        </p:nvSpPr>
        <p:spPr>
          <a:xfrm>
            <a:off x="4512125" y="4021820"/>
            <a:ext cx="3306143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Meta 17.17</a:t>
            </a:r>
          </a:p>
          <a:p>
            <a:pPr algn="ctr" defTabSz="1219170">
              <a:buClr>
                <a:srgbClr val="000000"/>
              </a:buClr>
            </a:pPr>
            <a:r>
              <a:rPr lang="es-MX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</a:rPr>
              <a:t>Alentar y promover la constitución de alianzas eficaces en las esferas pública, público-privada y de la sociedad civil aprovechando la experiencia y las estrategias de obtención de recursos de las asociaciones.</a:t>
            </a:r>
          </a:p>
          <a:p>
            <a:pPr algn="ctr" defTabSz="1219170">
              <a:buClr>
                <a:srgbClr val="000000"/>
              </a:buClr>
            </a:pPr>
            <a:r>
              <a:rPr lang="es-MX" sz="13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.</a:t>
            </a:r>
            <a:endParaRPr lang="es-MX" sz="13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CDDA9BF1-462D-4B63-9A5B-29E57C5C2B10}"/>
              </a:ext>
            </a:extLst>
          </p:cNvPr>
          <p:cNvSpPr/>
          <p:nvPr/>
        </p:nvSpPr>
        <p:spPr>
          <a:xfrm>
            <a:off x="1" y="1793053"/>
            <a:ext cx="12192000" cy="320344"/>
          </a:xfrm>
          <a:prstGeom prst="rect">
            <a:avLst/>
          </a:prstGeom>
          <a:solidFill>
            <a:schemeClr val="tx1"/>
          </a:solidFill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467" kern="0" dirty="0">
                <a:solidFill>
                  <a:schemeClr val="bg1"/>
                </a:solidFill>
                <a:latin typeface="Century Gothic" panose="020B0502020202020204" pitchFamily="34" charset="0"/>
                <a:cs typeface="Arial"/>
                <a:sym typeface="Arial"/>
              </a:rPr>
              <a:t>La ANI está comprometida con la promoción de la participación comunitaria y el control social en los proyectos de infraestructura. </a:t>
            </a:r>
          </a:p>
        </p:txBody>
      </p:sp>
      <p:grpSp>
        <p:nvGrpSpPr>
          <p:cNvPr id="13" name="Grupo 12">
            <a:extLst>
              <a:ext uri="{FF2B5EF4-FFF2-40B4-BE49-F238E27FC236}">
                <a16:creationId xmlns:a16="http://schemas.microsoft.com/office/drawing/2014/main" id="{4E4891A3-6E8A-4D09-A6FC-00459ABB7C5C}"/>
              </a:ext>
            </a:extLst>
          </p:cNvPr>
          <p:cNvGrpSpPr/>
          <p:nvPr/>
        </p:nvGrpSpPr>
        <p:grpSpPr>
          <a:xfrm>
            <a:off x="1046898" y="3002031"/>
            <a:ext cx="3046355" cy="2563525"/>
            <a:chOff x="334963" y="1838325"/>
            <a:chExt cx="2484437" cy="2805640"/>
          </a:xfrm>
        </p:grpSpPr>
        <p:grpSp>
          <p:nvGrpSpPr>
            <p:cNvPr id="14" name="Grupo 12">
              <a:extLst>
                <a:ext uri="{FF2B5EF4-FFF2-40B4-BE49-F238E27FC236}">
                  <a16:creationId xmlns:a16="http://schemas.microsoft.com/office/drawing/2014/main" id="{8FD26D9A-0D29-4A27-938B-F085539A47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4963" y="1843088"/>
              <a:ext cx="2484437" cy="2800877"/>
              <a:chOff x="684214" y="2060575"/>
              <a:chExt cx="2232025" cy="2278591"/>
            </a:xfrm>
          </p:grpSpPr>
          <p:sp>
            <p:nvSpPr>
              <p:cNvPr id="16" name="Redondear rectángulo de esquina diagonal 1">
                <a:extLst>
                  <a:ext uri="{FF2B5EF4-FFF2-40B4-BE49-F238E27FC236}">
                    <a16:creationId xmlns:a16="http://schemas.microsoft.com/office/drawing/2014/main" id="{3E2055BE-A537-48EB-B0C4-18E75D1CD988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2278591"/>
              </a:xfrm>
              <a:prstGeom prst="round2DiagRect">
                <a:avLst>
                  <a:gd name="adj1" fmla="val 19895"/>
                  <a:gd name="adj2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  <p:sp>
            <p:nvSpPr>
              <p:cNvPr id="17" name="Redondear rectángulo de esquina diagonal 5">
                <a:extLst>
                  <a:ext uri="{FF2B5EF4-FFF2-40B4-BE49-F238E27FC236}">
                    <a16:creationId xmlns:a16="http://schemas.microsoft.com/office/drawing/2014/main" id="{E6E0B607-D5B9-43AD-8C17-72532B362B71}"/>
                  </a:ext>
                </a:extLst>
              </p:cNvPr>
              <p:cNvSpPr/>
              <p:nvPr/>
            </p:nvSpPr>
            <p:spPr>
              <a:xfrm>
                <a:off x="684214" y="2060575"/>
                <a:ext cx="2232025" cy="997019"/>
              </a:xfrm>
              <a:prstGeom prst="round2DiagRect">
                <a:avLst>
                  <a:gd name="adj1" fmla="val 42065"/>
                  <a:gd name="adj2" fmla="val 0"/>
                </a:avLst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1219170">
                  <a:buClr>
                    <a:srgbClr val="000000"/>
                  </a:buClr>
                  <a:defRPr/>
                </a:pPr>
                <a:endParaRPr lang="es-ES" sz="1867" kern="0" dirty="0">
                  <a:solidFill>
                    <a:srgbClr val="FFFFFF"/>
                  </a:solidFill>
                  <a:latin typeface="Roboto Thin"/>
                  <a:sym typeface="Arial"/>
                </a:endParaRPr>
              </a:p>
            </p:txBody>
          </p:sp>
        </p:grpSp>
        <p:sp>
          <p:nvSpPr>
            <p:cNvPr id="15" name="Redondear rectángulo de esquina diagonal 20">
              <a:extLst>
                <a:ext uri="{FF2B5EF4-FFF2-40B4-BE49-F238E27FC236}">
                  <a16:creationId xmlns:a16="http://schemas.microsoft.com/office/drawing/2014/main" id="{7FE31DA1-D2F9-42BB-BD8C-B9797766BE6B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670FD2CD-A440-4D81-9953-19930855D142}"/>
              </a:ext>
            </a:extLst>
          </p:cNvPr>
          <p:cNvSpPr/>
          <p:nvPr/>
        </p:nvSpPr>
        <p:spPr>
          <a:xfrm>
            <a:off x="1488729" y="3078523"/>
            <a:ext cx="2221121" cy="318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cs typeface="Arial"/>
                <a:sym typeface="Economica"/>
              </a:rPr>
              <a:t>DERECHOS HUMANOS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C139FB1B-1AA3-488E-8F66-967A31190157}"/>
              </a:ext>
            </a:extLst>
          </p:cNvPr>
          <p:cNvSpPr/>
          <p:nvPr/>
        </p:nvSpPr>
        <p:spPr>
          <a:xfrm>
            <a:off x="1121889" y="3608829"/>
            <a:ext cx="2896371" cy="1046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ARTÍCULO 27</a:t>
            </a:r>
          </a:p>
          <a:p>
            <a:pPr algn="ctr" defTabSz="1219170">
              <a:buClr>
                <a:srgbClr val="000000"/>
              </a:buClr>
            </a:pPr>
            <a:endParaRPr lang="es-CO" sz="2133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pic>
        <p:nvPicPr>
          <p:cNvPr id="20" name="Imagen 19">
            <a:extLst>
              <a:ext uri="{FF2B5EF4-FFF2-40B4-BE49-F238E27FC236}">
                <a16:creationId xmlns:a16="http://schemas.microsoft.com/office/drawing/2014/main" id="{D07818C7-BC0C-42CF-9B45-C47EFBE54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025" y="2506134"/>
            <a:ext cx="862367" cy="781739"/>
          </a:xfrm>
          <a:prstGeom prst="ellipse">
            <a:avLst/>
          </a:prstGeom>
        </p:spPr>
      </p:pic>
      <p:sp>
        <p:nvSpPr>
          <p:cNvPr id="21" name="Rectángulo 20">
            <a:extLst>
              <a:ext uri="{FF2B5EF4-FFF2-40B4-BE49-F238E27FC236}">
                <a16:creationId xmlns:a16="http://schemas.microsoft.com/office/drawing/2014/main" id="{9484B9F4-F8A3-41F7-9852-253CD6676089}"/>
              </a:ext>
            </a:extLst>
          </p:cNvPr>
          <p:cNvSpPr/>
          <p:nvPr/>
        </p:nvSpPr>
        <p:spPr>
          <a:xfrm>
            <a:off x="4976358" y="2964317"/>
            <a:ext cx="2589349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467" b="1" kern="0" dirty="0">
                <a:solidFill>
                  <a:srgbClr val="FFFFFF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OBJETIVOS DE DESARROLLO SOSTENIBLE</a:t>
            </a: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3A2F4267-29CA-4B00-8D20-D344413EA4F0}"/>
              </a:ext>
            </a:extLst>
          </p:cNvPr>
          <p:cNvSpPr/>
          <p:nvPr/>
        </p:nvSpPr>
        <p:spPr>
          <a:xfrm>
            <a:off x="4721630" y="3513721"/>
            <a:ext cx="284407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5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17. ALIANZAS PARA LOGRAR LOS OBJETIVOS</a:t>
            </a:r>
          </a:p>
        </p:txBody>
      </p:sp>
      <p:grpSp>
        <p:nvGrpSpPr>
          <p:cNvPr id="23" name="Grupo 22">
            <a:extLst>
              <a:ext uri="{FF2B5EF4-FFF2-40B4-BE49-F238E27FC236}">
                <a16:creationId xmlns:a16="http://schemas.microsoft.com/office/drawing/2014/main" id="{B2EE4512-0CAE-4DF2-B174-FE94C014F9DA}"/>
              </a:ext>
            </a:extLst>
          </p:cNvPr>
          <p:cNvGrpSpPr/>
          <p:nvPr/>
        </p:nvGrpSpPr>
        <p:grpSpPr>
          <a:xfrm>
            <a:off x="8477271" y="2922295"/>
            <a:ext cx="3046355" cy="2643261"/>
            <a:chOff x="334963" y="1838325"/>
            <a:chExt cx="2484437" cy="2892907"/>
          </a:xfrm>
        </p:grpSpPr>
        <p:sp>
          <p:nvSpPr>
            <p:cNvPr id="26" name="Redondear rectángulo de esquina diagonal 1">
              <a:extLst>
                <a:ext uri="{FF2B5EF4-FFF2-40B4-BE49-F238E27FC236}">
                  <a16:creationId xmlns:a16="http://schemas.microsoft.com/office/drawing/2014/main" id="{B1A921CD-BAD3-4D5A-9DB1-9C7FEB49C45A}"/>
                </a:ext>
              </a:extLst>
            </p:cNvPr>
            <p:cNvSpPr/>
            <p:nvPr/>
          </p:nvSpPr>
          <p:spPr bwMode="auto">
            <a:xfrm>
              <a:off x="334963" y="1843088"/>
              <a:ext cx="2484437" cy="2888144"/>
            </a:xfrm>
            <a:prstGeom prst="round2DiagRect">
              <a:avLst>
                <a:gd name="adj1" fmla="val 19895"/>
                <a:gd name="adj2" fmla="val 0"/>
              </a:avLst>
            </a:prstGeom>
            <a:solidFill>
              <a:srgbClr val="F2B2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  <p:sp>
          <p:nvSpPr>
            <p:cNvPr id="25" name="Redondear rectángulo de esquina diagonal 20">
              <a:extLst>
                <a:ext uri="{FF2B5EF4-FFF2-40B4-BE49-F238E27FC236}">
                  <a16:creationId xmlns:a16="http://schemas.microsoft.com/office/drawing/2014/main" id="{834DADAC-EE58-413F-94C3-598606695832}"/>
                </a:ext>
              </a:extLst>
            </p:cNvPr>
            <p:cNvSpPr/>
            <p:nvPr/>
          </p:nvSpPr>
          <p:spPr bwMode="auto">
            <a:xfrm>
              <a:off x="334963" y="1838325"/>
              <a:ext cx="2484437" cy="612775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rgbClr val="FF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1219170">
                <a:buClr>
                  <a:srgbClr val="000000"/>
                </a:buClr>
                <a:defRPr/>
              </a:pPr>
              <a:endParaRPr lang="es-ES" sz="1867" kern="0" dirty="0">
                <a:solidFill>
                  <a:srgbClr val="FFFFFF"/>
                </a:solidFill>
                <a:latin typeface="Roboto Thin"/>
                <a:sym typeface="Arial"/>
              </a:endParaRPr>
            </a:p>
          </p:txBody>
        </p:sp>
      </p:grpSp>
      <p:pic>
        <p:nvPicPr>
          <p:cNvPr id="28" name="Imagen 27">
            <a:extLst>
              <a:ext uri="{FF2B5EF4-FFF2-40B4-BE49-F238E27FC236}">
                <a16:creationId xmlns:a16="http://schemas.microsoft.com/office/drawing/2014/main" id="{DB11C8FC-8A13-4632-8082-9C2D9BF462F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259" r="20368" b="-7423"/>
          <a:stretch/>
        </p:blipFill>
        <p:spPr>
          <a:xfrm>
            <a:off x="7818268" y="2514286"/>
            <a:ext cx="921916" cy="837485"/>
          </a:xfrm>
          <a:prstGeom prst="ellipse">
            <a:avLst/>
          </a:prstGeom>
          <a:ln w="38100">
            <a:noFill/>
          </a:ln>
        </p:spPr>
      </p:pic>
      <p:sp>
        <p:nvSpPr>
          <p:cNvPr id="30" name="Google Shape;438;p68">
            <a:extLst>
              <a:ext uri="{FF2B5EF4-FFF2-40B4-BE49-F238E27FC236}">
                <a16:creationId xmlns:a16="http://schemas.microsoft.com/office/drawing/2014/main" id="{83ED8BBC-3D66-4E05-9291-3AA1842E6F14}"/>
              </a:ext>
            </a:extLst>
          </p:cNvPr>
          <p:cNvSpPr txBox="1"/>
          <p:nvPr/>
        </p:nvSpPr>
        <p:spPr>
          <a:xfrm>
            <a:off x="8259242" y="3487717"/>
            <a:ext cx="3438637" cy="8188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 defTabSz="1219170">
              <a:buClr>
                <a:srgbClr val="000000"/>
              </a:buClr>
            </a:pPr>
            <a:endParaRPr lang="es-MX" sz="15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Economica"/>
            </a:endParaRPr>
          </a:p>
        </p:txBody>
      </p:sp>
      <p:sp>
        <p:nvSpPr>
          <p:cNvPr id="31" name="Rectángulo 30">
            <a:extLst>
              <a:ext uri="{FF2B5EF4-FFF2-40B4-BE49-F238E27FC236}">
                <a16:creationId xmlns:a16="http://schemas.microsoft.com/office/drawing/2014/main" id="{306FF2DE-1188-4546-BB50-CFC0B5A8C8A8}"/>
              </a:ext>
            </a:extLst>
          </p:cNvPr>
          <p:cNvSpPr/>
          <p:nvPr/>
        </p:nvSpPr>
        <p:spPr>
          <a:xfrm>
            <a:off x="8585794" y="4126173"/>
            <a:ext cx="2829308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endParaRPr lang="es-CO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  <a:p>
            <a:pPr algn="ctr" defTabSz="1219170">
              <a:buClr>
                <a:srgbClr val="000000"/>
              </a:buClr>
            </a:pPr>
            <a:r>
              <a:rPr lang="es-CO" sz="1300" b="1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  </a:t>
            </a:r>
            <a:endParaRPr lang="en-US" sz="1300" b="1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53C79405-2D46-4950-890A-43ACE1B8D8F0}"/>
              </a:ext>
            </a:extLst>
          </p:cNvPr>
          <p:cNvSpPr/>
          <p:nvPr/>
        </p:nvSpPr>
        <p:spPr>
          <a:xfrm>
            <a:off x="1121889" y="4281253"/>
            <a:ext cx="28574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sz="1200" kern="0" dirty="0">
                <a:solidFill>
                  <a:srgbClr val="000000"/>
                </a:solidFill>
                <a:latin typeface="Century Gothic" panose="020B0502020202020204" pitchFamily="34" charset="0"/>
                <a:cs typeface="Arial"/>
                <a:sym typeface="Arial"/>
              </a:rPr>
              <a:t>Toda persona tiene derecho a tomar parte libremente en la vida cultural de la comunidad, y a participar en el progreso y en los beneficios que de él resulten.</a:t>
            </a:r>
          </a:p>
          <a:p>
            <a:pPr algn="ctr" defTabSz="1219170">
              <a:buClr>
                <a:srgbClr val="000000"/>
              </a:buClr>
            </a:pPr>
            <a:endParaRPr lang="es-CO" sz="1200" kern="0" dirty="0">
              <a:solidFill>
                <a:srgbClr val="000000"/>
              </a:solidFill>
              <a:latin typeface="Century Gothic" panose="020B0502020202020204" pitchFamily="34" charset="0"/>
              <a:cs typeface="Arial"/>
              <a:sym typeface="Arial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6C8BD29-789F-410F-9C23-72905B71C826}"/>
              </a:ext>
            </a:extLst>
          </p:cNvPr>
          <p:cNvSpPr/>
          <p:nvPr/>
        </p:nvSpPr>
        <p:spPr>
          <a:xfrm>
            <a:off x="8616161" y="2985203"/>
            <a:ext cx="279894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>
              <a:buClr>
                <a:srgbClr val="000000"/>
              </a:buClr>
            </a:pP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N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UESTROS </a:t>
            </a:r>
            <a:r>
              <a:rPr lang="es-CO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R</a:t>
            </a:r>
            <a:r>
              <a:rPr lang="es-CO" sz="1467" b="1" kern="0" dirty="0">
                <a:solidFill>
                  <a:srgbClr val="010407"/>
                </a:solidFill>
                <a:latin typeface="Century Gothic" panose="020B0502020202020204" pitchFamily="34" charset="0"/>
                <a:ea typeface="Economica"/>
                <a:cs typeface="Economica"/>
                <a:sym typeface="Economica"/>
              </a:rPr>
              <a:t>ESULTADOS</a:t>
            </a:r>
          </a:p>
        </p:txBody>
      </p:sp>
      <p:pic>
        <p:nvPicPr>
          <p:cNvPr id="35" name="Picture 24" descr="Resultado de imagen para ods 17 alianzas para lograr los objetivos">
            <a:extLst>
              <a:ext uri="{FF2B5EF4-FFF2-40B4-BE49-F238E27FC236}">
                <a16:creationId xmlns:a16="http://schemas.microsoft.com/office/drawing/2014/main" id="{9E422ACC-4D89-48F7-9F56-D98F6B98CB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29" r="4093" b="11586"/>
          <a:stretch/>
        </p:blipFill>
        <p:spPr bwMode="auto">
          <a:xfrm>
            <a:off x="4296610" y="2467960"/>
            <a:ext cx="850040" cy="83527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ángulo 35">
            <a:extLst>
              <a:ext uri="{FF2B5EF4-FFF2-40B4-BE49-F238E27FC236}">
                <a16:creationId xmlns:a16="http://schemas.microsoft.com/office/drawing/2014/main" id="{D1E322B1-327A-457D-9E19-F74699530988}"/>
              </a:ext>
            </a:extLst>
          </p:cNvPr>
          <p:cNvSpPr/>
          <p:nvPr/>
        </p:nvSpPr>
        <p:spPr>
          <a:xfrm>
            <a:off x="-13892" y="1174373"/>
            <a:ext cx="12192000" cy="340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lnSpc>
                <a:spcPct val="110000"/>
              </a:lnSpc>
              <a:buClr>
                <a:srgbClr val="000000"/>
              </a:buClr>
            </a:pPr>
            <a:r>
              <a:rPr lang="es-CO" sz="1600" b="1" kern="0" dirty="0">
                <a:latin typeface="Century Gothic" panose="020B0502020202020204" pitchFamily="34" charset="0"/>
                <a:cs typeface="Arial"/>
                <a:sym typeface="Arial"/>
              </a:rPr>
              <a:t>La gestión social de la ANI contiene planes, programas y acciones enfocadas a:</a:t>
            </a:r>
          </a:p>
        </p:txBody>
      </p:sp>
      <p:sp>
        <p:nvSpPr>
          <p:cNvPr id="37" name="Rectángulo 36">
            <a:extLst>
              <a:ext uri="{FF2B5EF4-FFF2-40B4-BE49-F238E27FC236}">
                <a16:creationId xmlns:a16="http://schemas.microsoft.com/office/drawing/2014/main" id="{9A459EB1-492E-48B6-A4C6-69F8D85DB7B1}"/>
              </a:ext>
            </a:extLst>
          </p:cNvPr>
          <p:cNvSpPr/>
          <p:nvPr/>
        </p:nvSpPr>
        <p:spPr>
          <a:xfrm>
            <a:off x="8557756" y="3711556"/>
            <a:ext cx="2965869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685800">
              <a:defRPr/>
            </a:pPr>
            <a:r>
              <a:rPr lang="es-CO" sz="11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87 oficinas fijas y satélites y, 59 oficinas móviles de </a:t>
            </a:r>
            <a:r>
              <a:rPr lang="es-CO" sz="12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los proyectos 4G</a:t>
            </a:r>
          </a:p>
          <a:p>
            <a:pPr lvl="0" algn="ctr" defTabSz="685800">
              <a:defRPr/>
            </a:pPr>
            <a:r>
              <a:rPr lang="es-CO" sz="1200" b="1" dirty="0">
                <a:solidFill>
                  <a:srgbClr val="222222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26.774 usuarios atendidos </a:t>
            </a:r>
            <a:r>
              <a:rPr lang="es-CO" sz="1100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en los sistemas de atención. 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8" name="Rectángulo 37">
            <a:extLst>
              <a:ext uri="{FF2B5EF4-FFF2-40B4-BE49-F238E27FC236}">
                <a16:creationId xmlns:a16="http://schemas.microsoft.com/office/drawing/2014/main" id="{E5BFF527-5ED6-4D9A-A89E-6A96FC6D8F91}"/>
              </a:ext>
            </a:extLst>
          </p:cNvPr>
          <p:cNvSpPr/>
          <p:nvPr/>
        </p:nvSpPr>
        <p:spPr>
          <a:xfrm>
            <a:off x="8557756" y="4691218"/>
            <a:ext cx="2937832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100" b="1" dirty="0">
                <a:solidFill>
                  <a:prstClr val="black">
                    <a:lumMod val="95000"/>
                    <a:lumOff val="5000"/>
                  </a:prstClr>
                </a:solidFill>
                <a:latin typeface="Century Gothic" panose="020B0502020202020204" pitchFamily="34" charset="0"/>
              </a:rPr>
              <a:t>1.424 </a:t>
            </a:r>
            <a:r>
              <a:rPr kumimoji="0" lang="es-CO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ocializaciones</a:t>
            </a:r>
            <a:r>
              <a:rPr kumimoji="0" lang="es-CO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s-CO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 comunidades realizadas en proyectos 4G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95000"/>
                  <a:lumOff val="5000"/>
                </a:prstClr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86183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5EhUBZrUe.6bQ08g6vXw"/>
</p:tagLst>
</file>

<file path=ppt/theme/theme1.xml><?xml version="1.0" encoding="utf-8"?>
<a:theme xmlns:a="http://schemas.openxmlformats.org/drawingml/2006/main" name="Presidencia de Colomba">
  <a:themeElements>
    <a:clrScheme name="Presidencia">
      <a:dk1>
        <a:srgbClr val="073763"/>
      </a:dk1>
      <a:lt1>
        <a:srgbClr val="FFFFFF"/>
      </a:lt1>
      <a:dk2>
        <a:srgbClr val="3C78D8"/>
      </a:dk2>
      <a:lt2>
        <a:srgbClr val="A4C2F4"/>
      </a:lt2>
      <a:accent1>
        <a:srgbClr val="E4EDFE"/>
      </a:accent1>
      <a:accent2>
        <a:srgbClr val="B7CFFF"/>
      </a:accent2>
      <a:accent3>
        <a:srgbClr val="88ACF8"/>
      </a:accent3>
      <a:accent4>
        <a:srgbClr val="5B8BFF"/>
      </a:accent4>
      <a:accent5>
        <a:srgbClr val="6D98FF"/>
      </a:accent5>
      <a:accent6>
        <a:srgbClr val="2A54A7"/>
      </a:accent6>
      <a:hlink>
        <a:srgbClr val="F45721"/>
      </a:hlink>
      <a:folHlink>
        <a:srgbClr val="FFA06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97</TotalTime>
  <Words>1344</Words>
  <Application>Microsoft Office PowerPoint</Application>
  <PresentationFormat>Panorámica</PresentationFormat>
  <Paragraphs>145</Paragraphs>
  <Slides>12</Slides>
  <Notes>1</Notes>
  <HiddenSlides>0</HiddenSlides>
  <MMClips>0</MMClips>
  <ScaleCrop>false</ScaleCrop>
  <HeadingPairs>
    <vt:vector size="6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20" baseType="lpstr">
      <vt:lpstr>Arial</vt:lpstr>
      <vt:lpstr>Calibri</vt:lpstr>
      <vt:lpstr>Century Gothic</vt:lpstr>
      <vt:lpstr>Roboto Thin</vt:lpstr>
      <vt:lpstr>Work Sans</vt:lpstr>
      <vt:lpstr>Work Sans Light</vt:lpstr>
      <vt:lpstr>Work Sans SemiBold</vt:lpstr>
      <vt:lpstr>Presidencia de Colomb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Vanessa Maria Vergara Dominguez</dc:creator>
  <cp:lastModifiedBy>Ricardo Aguilera Wilches</cp:lastModifiedBy>
  <cp:revision>280</cp:revision>
  <cp:lastPrinted>2019-08-21T19:18:58Z</cp:lastPrinted>
  <dcterms:created xsi:type="dcterms:W3CDTF">2018-01-12T20:27:41Z</dcterms:created>
  <dcterms:modified xsi:type="dcterms:W3CDTF">2019-08-27T13:43:49Z</dcterms:modified>
</cp:coreProperties>
</file>